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9" r:id="rId4"/>
    <p:sldMasterId id="2147483716" r:id="rId5"/>
    <p:sldMasterId id="2147483767" r:id="rId6"/>
    <p:sldMasterId id="2147483827" r:id="rId7"/>
  </p:sldMasterIdLst>
  <p:notesMasterIdLst>
    <p:notesMasterId r:id="rId34"/>
  </p:notesMasterIdLst>
  <p:handoutMasterIdLst>
    <p:handoutMasterId r:id="rId35"/>
  </p:handoutMasterIdLst>
  <p:sldIdLst>
    <p:sldId id="2147377641" r:id="rId8"/>
    <p:sldId id="2147377643" r:id="rId9"/>
    <p:sldId id="2147377736" r:id="rId10"/>
    <p:sldId id="2147377661" r:id="rId11"/>
    <p:sldId id="2147377646" r:id="rId12"/>
    <p:sldId id="2147377647" r:id="rId13"/>
    <p:sldId id="2147377739" r:id="rId14"/>
    <p:sldId id="2147377663" r:id="rId15"/>
    <p:sldId id="2147377658" r:id="rId16"/>
    <p:sldId id="2147377653" r:id="rId17"/>
    <p:sldId id="2147377656" r:id="rId18"/>
    <p:sldId id="2147377662" r:id="rId19"/>
    <p:sldId id="2147377665" r:id="rId20"/>
    <p:sldId id="2147377666" r:id="rId21"/>
    <p:sldId id="2147377732" r:id="rId22"/>
    <p:sldId id="2147377733" r:id="rId23"/>
    <p:sldId id="2147377743" r:id="rId24"/>
    <p:sldId id="2147377737" r:id="rId25"/>
    <p:sldId id="2147377738" r:id="rId26"/>
    <p:sldId id="2147377723" r:id="rId27"/>
    <p:sldId id="2147377740" r:id="rId28"/>
    <p:sldId id="2147377741" r:id="rId29"/>
    <p:sldId id="2147377742" r:id="rId30"/>
    <p:sldId id="2147377717" r:id="rId31"/>
    <p:sldId id="2147377721" r:id="rId32"/>
    <p:sldId id="12418" r:id="rId33"/>
  </p:sldIdLst>
  <p:sldSz cx="12192000" cy="6858000"/>
  <p:notesSz cx="6858000" cy="9144000"/>
  <p:embeddedFontLst>
    <p:embeddedFont>
      <p:font typeface="SpareBank 1" panose="020B0500030000000000" pitchFamily="34" charset="0"/>
      <p:regular r:id="rId36"/>
      <p:bold r:id="rId37"/>
      <p:italic r:id="rId38"/>
      <p:boldItalic r:id="rId39"/>
    </p:embeddedFont>
    <p:embeddedFont>
      <p:font typeface="SpareBank 1 Light" panose="020B0500030000000000" pitchFamily="34" charset="0"/>
      <p:regular r:id="rId40"/>
      <p:italic r:id="rId41"/>
    </p:embeddedFont>
    <p:embeddedFont>
      <p:font typeface="SpareBank 1 Medium" panose="020B0500030000000000" pitchFamily="34" charset="0"/>
      <p:regular r:id="rId42"/>
      <p:italic r:id="rId43"/>
    </p:embeddedFont>
    <p:embeddedFont>
      <p:font typeface="SpareBank 1 Title" panose="020B0500030000000000" pitchFamily="34" charset="0"/>
      <p:regular r:id="rId44"/>
      <p:bold r:id="rId45"/>
    </p:embeddedFont>
    <p:embeddedFont>
      <p:font typeface="SpareBank 1 Title Light" panose="020B0500030000000000" pitchFamily="34" charset="0"/>
      <p:regular r:id="rId46"/>
    </p:embeddedFont>
  </p:embeddedFontLst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E9DD"/>
    <a:srgbClr val="2FA1FF"/>
    <a:srgbClr val="FFFFFF"/>
    <a:srgbClr val="9E9E9E"/>
    <a:srgbClr val="808080"/>
    <a:srgbClr val="000000"/>
    <a:srgbClr val="005AA4"/>
    <a:srgbClr val="C00000"/>
    <a:srgbClr val="FFF9F5"/>
    <a:srgbClr val="052D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B677A9-C9DA-444E-A156-A98DE2564327}" v="21" dt="2024-05-31T08:55:41.7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3663" autoAdjust="0"/>
    <p:restoredTop sz="94363" autoAdjust="0"/>
  </p:normalViewPr>
  <p:slideViewPr>
    <p:cSldViewPr snapToGrid="0">
      <p:cViewPr varScale="1">
        <p:scale>
          <a:sx n="110" d="100"/>
          <a:sy n="110" d="100"/>
        </p:scale>
        <p:origin x="132" y="3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17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font" Target="fonts/font4.fntdata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42" Type="http://schemas.openxmlformats.org/officeDocument/2006/relationships/font" Target="fonts/font7.fntdata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font" Target="fonts/font10.fntdata"/><Relationship Id="rId53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font" Target="fonts/font9.fntdata"/><Relationship Id="rId52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handoutMaster" Target="handoutMasters/handoutMaster1.xml"/><Relationship Id="rId43" Type="http://schemas.openxmlformats.org/officeDocument/2006/relationships/font" Target="fonts/font8.fntdata"/><Relationship Id="rId48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font" Target="fonts/font3.fntdata"/><Relationship Id="rId46" Type="http://schemas.openxmlformats.org/officeDocument/2006/relationships/font" Target="fonts/font11.fntdata"/><Relationship Id="rId20" Type="http://schemas.openxmlformats.org/officeDocument/2006/relationships/slide" Target="slides/slide13.xml"/><Relationship Id="rId41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font" Target="fonts/font1.fntdata"/><Relationship Id="rId4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-Eilert Nilsen" userId="5e9adbc7-baa0-4faa-bfe1-d6de7ac69b13" providerId="ADAL" clId="{03B677A9-C9DA-444E-A156-A98DE2564327}"/>
    <pc:docChg chg="modSld">
      <pc:chgData name="Jan-Eilert Nilsen" userId="5e9adbc7-baa0-4faa-bfe1-d6de7ac69b13" providerId="ADAL" clId="{03B677A9-C9DA-444E-A156-A98DE2564327}" dt="2024-06-04T12:13:19.322" v="165" actId="20577"/>
      <pc:docMkLst>
        <pc:docMk/>
      </pc:docMkLst>
      <pc:sldChg chg="modNotesTx">
        <pc:chgData name="Jan-Eilert Nilsen" userId="5e9adbc7-baa0-4faa-bfe1-d6de7ac69b13" providerId="ADAL" clId="{03B677A9-C9DA-444E-A156-A98DE2564327}" dt="2024-06-04T12:13:19.322" v="165" actId="20577"/>
        <pc:sldMkLst>
          <pc:docMk/>
          <pc:sldMk cId="2573128091" sldId="2147377656"/>
        </pc:sldMkLst>
      </pc:sldChg>
      <pc:sldChg chg="modSp mod">
        <pc:chgData name="Jan-Eilert Nilsen" userId="5e9adbc7-baa0-4faa-bfe1-d6de7ac69b13" providerId="ADAL" clId="{03B677A9-C9DA-444E-A156-A98DE2564327}" dt="2024-05-31T10:04:24.177" v="23" actId="20577"/>
        <pc:sldMkLst>
          <pc:docMk/>
          <pc:sldMk cId="3122014095" sldId="2147377666"/>
        </pc:sldMkLst>
        <pc:spChg chg="mod">
          <ac:chgData name="Jan-Eilert Nilsen" userId="5e9adbc7-baa0-4faa-bfe1-d6de7ac69b13" providerId="ADAL" clId="{03B677A9-C9DA-444E-A156-A98DE2564327}" dt="2024-05-31T10:04:17.808" v="8" actId="20577"/>
          <ac:spMkLst>
            <pc:docMk/>
            <pc:sldMk cId="3122014095" sldId="2147377666"/>
            <ac:spMk id="2" creationId="{D33F3AEA-B1D4-13F7-C010-53E4A378A7B3}"/>
          </ac:spMkLst>
        </pc:spChg>
        <pc:spChg chg="mod">
          <ac:chgData name="Jan-Eilert Nilsen" userId="5e9adbc7-baa0-4faa-bfe1-d6de7ac69b13" providerId="ADAL" clId="{03B677A9-C9DA-444E-A156-A98DE2564327}" dt="2024-05-31T10:04:24.177" v="23" actId="20577"/>
          <ac:spMkLst>
            <pc:docMk/>
            <pc:sldMk cId="3122014095" sldId="2147377666"/>
            <ac:spMk id="12" creationId="{D5C6423D-24C2-B76D-58CD-3A5DE953FD62}"/>
          </ac:spMkLst>
        </pc:spChg>
      </pc:sldChg>
      <pc:sldChg chg="modSp mod">
        <pc:chgData name="Jan-Eilert Nilsen" userId="5e9adbc7-baa0-4faa-bfe1-d6de7ac69b13" providerId="ADAL" clId="{03B677A9-C9DA-444E-A156-A98DE2564327}" dt="2024-05-31T11:24:57.822" v="26" actId="20577"/>
        <pc:sldMkLst>
          <pc:docMk/>
          <pc:sldMk cId="1221722636" sldId="2147377736"/>
        </pc:sldMkLst>
        <pc:spChg chg="mod">
          <ac:chgData name="Jan-Eilert Nilsen" userId="5e9adbc7-baa0-4faa-bfe1-d6de7ac69b13" providerId="ADAL" clId="{03B677A9-C9DA-444E-A156-A98DE2564327}" dt="2024-05-31T11:24:57.822" v="26" actId="20577"/>
          <ac:spMkLst>
            <pc:docMk/>
            <pc:sldMk cId="1221722636" sldId="2147377736"/>
            <ac:spMk id="97" creationId="{668E9C9A-2F77-4271-210F-A6F645CEE8BC}"/>
          </ac:spMkLst>
        </pc:spChg>
      </pc:sldChg>
      <pc:sldChg chg="modSp mod">
        <pc:chgData name="Jan-Eilert Nilsen" userId="5e9adbc7-baa0-4faa-bfe1-d6de7ac69b13" providerId="ADAL" clId="{03B677A9-C9DA-444E-A156-A98DE2564327}" dt="2024-05-31T11:27:00.282" v="73" actId="1076"/>
        <pc:sldMkLst>
          <pc:docMk/>
          <pc:sldMk cId="3612975401" sldId="2147377738"/>
        </pc:sldMkLst>
        <pc:spChg chg="mod">
          <ac:chgData name="Jan-Eilert Nilsen" userId="5e9adbc7-baa0-4faa-bfe1-d6de7ac69b13" providerId="ADAL" clId="{03B677A9-C9DA-444E-A156-A98DE2564327}" dt="2024-05-31T11:27:00.282" v="73" actId="1076"/>
          <ac:spMkLst>
            <pc:docMk/>
            <pc:sldMk cId="3612975401" sldId="2147377738"/>
            <ac:spMk id="10" creationId="{5D619084-838D-60BF-376C-6B64695A540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DDA1FA4-1174-40A7-9B07-04BBFF1CF9F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17BD3B-731D-4124-B00B-07B4584E35E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618B9B-7448-4D8A-AF2F-B1EE064302A4}" type="datetimeFigureOut">
              <a:rPr lang="en-US" smtClean="0"/>
              <a:t>6/4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2A1CF0-482E-42EC-ABD5-CD1886BACA4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FCAFF6-524F-4F57-A635-BBEFD4753C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231432-75B0-4283-A309-B0CC7EE887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DA8300-A5C5-4530-B9F1-8ED6B56A8897}" type="datetimeFigureOut">
              <a:rPr lang="nb-NO" smtClean="0"/>
              <a:t>04.06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B9DBD6-EE2A-487E-B1F3-ABE8CC01B16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05039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Geografisk (Miljødirektoratet, en pekepinn..) eller for egen virksomhet? Opp til kommunene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9DBD6-EE2A-487E-B1F3-ABE8CC01B16F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12653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akk for oppmerksomheten!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ADA1A3-3ED1-467C-AAAA-AC3D20FA118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617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5.emf"/><Relationship Id="rId4" Type="http://schemas.openxmlformats.org/officeDocument/2006/relationships/image" Target="../media/image74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4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4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4.emf"/><Relationship Id="rId4" Type="http://schemas.openxmlformats.org/officeDocument/2006/relationships/image" Target="../media/image119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12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5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5.emf"/><Relationship Id="rId4" Type="http://schemas.openxmlformats.org/officeDocument/2006/relationships/image" Target="../media/image74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image" Target="../media/image75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6" Type="http://schemas.openxmlformats.org/officeDocument/2006/relationships/image" Target="../media/image74.emf"/><Relationship Id="rId5" Type="http://schemas.openxmlformats.org/officeDocument/2006/relationships/image" Target="../media/image75.emf"/><Relationship Id="rId4" Type="http://schemas.openxmlformats.org/officeDocument/2006/relationships/image" Target="../media/image55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6" Type="http://schemas.openxmlformats.org/officeDocument/2006/relationships/image" Target="../media/image74.emf"/><Relationship Id="rId5" Type="http://schemas.openxmlformats.org/officeDocument/2006/relationships/image" Target="../media/image75.emf"/><Relationship Id="rId4" Type="http://schemas.openxmlformats.org/officeDocument/2006/relationships/image" Target="../media/image56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74.emf"/><Relationship Id="rId5" Type="http://schemas.openxmlformats.org/officeDocument/2006/relationships/image" Target="../media/image57.png"/><Relationship Id="rId4" Type="http://schemas.openxmlformats.org/officeDocument/2006/relationships/image" Target="../media/image75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74.emf"/><Relationship Id="rId5" Type="http://schemas.openxmlformats.org/officeDocument/2006/relationships/image" Target="../media/image58.png"/><Relationship Id="rId4" Type="http://schemas.openxmlformats.org/officeDocument/2006/relationships/image" Target="../media/image75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74.emf"/><Relationship Id="rId5" Type="http://schemas.openxmlformats.org/officeDocument/2006/relationships/image" Target="../media/image59.png"/><Relationship Id="rId4" Type="http://schemas.openxmlformats.org/officeDocument/2006/relationships/image" Target="../media/image75.emf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2.emf"/><Relationship Id="rId4" Type="http://schemas.openxmlformats.org/officeDocument/2006/relationships/image" Target="../media/image123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3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3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3.emf"/><Relationship Id="rId4" Type="http://schemas.openxmlformats.org/officeDocument/2006/relationships/image" Target="../media/image53.png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2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2.emf"/><Relationship Id="rId4" Type="http://schemas.openxmlformats.org/officeDocument/2006/relationships/image" Target="../media/image123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emf"/><Relationship Id="rId2" Type="http://schemas.openxmlformats.org/officeDocument/2006/relationships/image" Target="../media/image122.emf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3.emf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23.emf"/><Relationship Id="rId5" Type="http://schemas.openxmlformats.org/officeDocument/2006/relationships/image" Target="../media/image122.emf"/><Relationship Id="rId4" Type="http://schemas.openxmlformats.org/officeDocument/2006/relationships/image" Target="../media/image55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123.emf"/><Relationship Id="rId5" Type="http://schemas.openxmlformats.org/officeDocument/2006/relationships/image" Target="../media/image122.emf"/><Relationship Id="rId4" Type="http://schemas.openxmlformats.org/officeDocument/2006/relationships/image" Target="../media/image56.pn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123.emf"/><Relationship Id="rId5" Type="http://schemas.openxmlformats.org/officeDocument/2006/relationships/image" Target="../media/image57.png"/><Relationship Id="rId4" Type="http://schemas.openxmlformats.org/officeDocument/2006/relationships/image" Target="../media/image122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123.emf"/><Relationship Id="rId5" Type="http://schemas.openxmlformats.org/officeDocument/2006/relationships/image" Target="../media/image58.png"/><Relationship Id="rId4" Type="http://schemas.openxmlformats.org/officeDocument/2006/relationships/image" Target="../media/image122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123.emf"/><Relationship Id="rId5" Type="http://schemas.openxmlformats.org/officeDocument/2006/relationships/image" Target="../media/image59.png"/><Relationship Id="rId4" Type="http://schemas.openxmlformats.org/officeDocument/2006/relationships/image" Target="../media/image122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7.emf"/><Relationship Id="rId4" Type="http://schemas.openxmlformats.org/officeDocument/2006/relationships/image" Target="../media/image48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8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8.emf"/><Relationship Id="rId4" Type="http://schemas.openxmlformats.org/officeDocument/2006/relationships/image" Target="../media/image5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7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7.emf"/><Relationship Id="rId4" Type="http://schemas.openxmlformats.org/officeDocument/2006/relationships/image" Target="../media/image48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8.emf"/><Relationship Id="rId5" Type="http://schemas.openxmlformats.org/officeDocument/2006/relationships/image" Target="../media/image47.emf"/><Relationship Id="rId4" Type="http://schemas.openxmlformats.org/officeDocument/2006/relationships/image" Target="../media/image55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48.emf"/><Relationship Id="rId5" Type="http://schemas.openxmlformats.org/officeDocument/2006/relationships/image" Target="../media/image47.emf"/><Relationship Id="rId4" Type="http://schemas.openxmlformats.org/officeDocument/2006/relationships/image" Target="../media/image56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48.emf"/><Relationship Id="rId5" Type="http://schemas.openxmlformats.org/officeDocument/2006/relationships/image" Target="../media/image57.png"/><Relationship Id="rId4" Type="http://schemas.openxmlformats.org/officeDocument/2006/relationships/image" Target="../media/image47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48.emf"/><Relationship Id="rId5" Type="http://schemas.openxmlformats.org/officeDocument/2006/relationships/image" Target="../media/image58.png"/><Relationship Id="rId4" Type="http://schemas.openxmlformats.org/officeDocument/2006/relationships/image" Target="../media/image47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48.emf"/><Relationship Id="rId5" Type="http://schemas.openxmlformats.org/officeDocument/2006/relationships/image" Target="../media/image59.png"/><Relationship Id="rId4" Type="http://schemas.openxmlformats.org/officeDocument/2006/relationships/image" Target="../media/image47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8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sv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68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8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67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53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7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B320C3A7-5FED-A483-7368-ADCBACF2D93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1099DB2B-DF62-E87A-66A6-4FA97A2D29B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70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D22E757-EFE7-4496-8FCA-C88C20717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5310" y="0"/>
            <a:ext cx="5885376" cy="4521285"/>
          </a:xfrm>
          <a:custGeom>
            <a:avLst/>
            <a:gdLst>
              <a:gd name="connsiteX0" fmla="*/ 461865 w 5885376"/>
              <a:gd name="connsiteY0" fmla="*/ 0 h 4521285"/>
              <a:gd name="connsiteX1" fmla="*/ 5423511 w 5885376"/>
              <a:gd name="connsiteY1" fmla="*/ 0 h 4521285"/>
              <a:gd name="connsiteX2" fmla="*/ 5530209 w 5885376"/>
              <a:gd name="connsiteY2" fmla="*/ 175643 h 4521285"/>
              <a:gd name="connsiteX3" fmla="*/ 5885376 w 5885376"/>
              <a:gd name="connsiteY3" fmla="*/ 1578398 h 4521285"/>
              <a:gd name="connsiteX4" fmla="*/ 2942688 w 5885376"/>
              <a:gd name="connsiteY4" fmla="*/ 4521285 h 4521285"/>
              <a:gd name="connsiteX5" fmla="*/ 0 w 5885376"/>
              <a:gd name="connsiteY5" fmla="*/ 1578398 h 4521285"/>
              <a:gd name="connsiteX6" fmla="*/ 355167 w 5885376"/>
              <a:gd name="connsiteY6" fmla="*/ 175643 h 452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85376" h="4521285">
                <a:moveTo>
                  <a:pt x="461865" y="0"/>
                </a:moveTo>
                <a:lnTo>
                  <a:pt x="5423511" y="0"/>
                </a:lnTo>
                <a:lnTo>
                  <a:pt x="5530209" y="175643"/>
                </a:lnTo>
                <a:cubicBezTo>
                  <a:pt x="5756715" y="592630"/>
                  <a:pt x="5885376" y="1070488"/>
                  <a:pt x="5885376" y="1578398"/>
                </a:cubicBezTo>
                <a:cubicBezTo>
                  <a:pt x="5885376" y="3203710"/>
                  <a:pt x="4567890" y="4521285"/>
                  <a:pt x="2942688" y="4521285"/>
                </a:cubicBezTo>
                <a:cubicBezTo>
                  <a:pt x="1317486" y="4521285"/>
                  <a:pt x="0" y="3203710"/>
                  <a:pt x="0" y="1578398"/>
                </a:cubicBezTo>
                <a:cubicBezTo>
                  <a:pt x="0" y="1070488"/>
                  <a:pt x="128661" y="592630"/>
                  <a:pt x="355167" y="175643"/>
                </a:cubicBezTo>
                <a:close/>
              </a:path>
            </a:pathLst>
          </a:custGeom>
          <a:solidFill>
            <a:srgbClr val="D9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73AC3B-A4A9-4926-98E2-D54C056F90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4350" y="1270489"/>
            <a:ext cx="6757650" cy="5587512"/>
          </a:xfrm>
          <a:custGeom>
            <a:avLst/>
            <a:gdLst>
              <a:gd name="connsiteX0" fmla="*/ 3737429 w 6757650"/>
              <a:gd name="connsiteY0" fmla="*/ 0 h 5587512"/>
              <a:gd name="connsiteX1" fmla="*/ 6621411 w 6757650"/>
              <a:gd name="connsiteY1" fmla="*/ 1360397 h 5587512"/>
              <a:gd name="connsiteX2" fmla="*/ 6757650 w 6757650"/>
              <a:gd name="connsiteY2" fmla="*/ 1542630 h 5587512"/>
              <a:gd name="connsiteX3" fmla="*/ 6757650 w 6757650"/>
              <a:gd name="connsiteY3" fmla="*/ 5587512 h 5587512"/>
              <a:gd name="connsiteX4" fmla="*/ 491968 w 6757650"/>
              <a:gd name="connsiteY4" fmla="*/ 5587512 h 5587512"/>
              <a:gd name="connsiteX5" fmla="*/ 451088 w 6757650"/>
              <a:gd name="connsiteY5" fmla="*/ 5520206 h 5587512"/>
              <a:gd name="connsiteX6" fmla="*/ 0 w 6757650"/>
              <a:gd name="connsiteY6" fmla="*/ 3738307 h 5587512"/>
              <a:gd name="connsiteX7" fmla="*/ 3737429 w 6757650"/>
              <a:gd name="connsiteY7" fmla="*/ 0 h 5587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7650" h="5587512">
                <a:moveTo>
                  <a:pt x="3737429" y="0"/>
                </a:moveTo>
                <a:cubicBezTo>
                  <a:pt x="4898499" y="0"/>
                  <a:pt x="5935911" y="529568"/>
                  <a:pt x="6621411" y="1360397"/>
                </a:cubicBezTo>
                <a:lnTo>
                  <a:pt x="6757650" y="1542630"/>
                </a:lnTo>
                <a:lnTo>
                  <a:pt x="6757650" y="5587512"/>
                </a:lnTo>
                <a:lnTo>
                  <a:pt x="491968" y="5587512"/>
                </a:lnTo>
                <a:lnTo>
                  <a:pt x="451088" y="5520206"/>
                </a:lnTo>
                <a:cubicBezTo>
                  <a:pt x="163409" y="4990513"/>
                  <a:pt x="0" y="4383498"/>
                  <a:pt x="0" y="3738307"/>
                </a:cubicBezTo>
                <a:cubicBezTo>
                  <a:pt x="0" y="1673697"/>
                  <a:pt x="1673304" y="0"/>
                  <a:pt x="37374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1015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1367221"/>
            <a:ext cx="5614196" cy="969496"/>
          </a:xfrm>
        </p:spPr>
        <p:txBody>
          <a:bodyPr anchor="ctr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2556833"/>
            <a:ext cx="561419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E1BA9-A908-4A48-A0A6-59B33BE169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A1CC3DA1-6E86-4C3A-B22E-95896C5B284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F58B9B1-B8B4-4686-95DA-24EC9795FA3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2F8CF7-A768-4FDA-B0E0-9D9BFBF0536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8EC9EC8E-BBE1-4C9B-B12F-C37E375434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1D75CE87-EA9B-47E7-853C-FAC43232B17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213F449-5667-488C-B67F-599AB7F3199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5" name="addin_image" hidden="1">
            <a:extLst>
              <a:ext uri="{FF2B5EF4-FFF2-40B4-BE49-F238E27FC236}">
                <a16:creationId xmlns:a16="http://schemas.microsoft.com/office/drawing/2014/main" id="{92472BBB-FF87-41B4-95E1-040D828D78AC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D3B2865B-446F-1D1B-CCB2-BC100CFE6DD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37B1FD90-ABC5-7D84-1102-1163F2A529B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2905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3D015-6959-4408-9BF2-878E984CDA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7625" y="0"/>
            <a:ext cx="7064375" cy="6858000"/>
          </a:xfrm>
          <a:solidFill>
            <a:srgbClr val="00103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92E13-E931-494C-96DF-4A2421B6F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81497" y="4038600"/>
            <a:ext cx="7810497" cy="2819400"/>
          </a:xfrm>
          <a:custGeom>
            <a:avLst/>
            <a:gdLst>
              <a:gd name="connsiteX0" fmla="*/ 6007097 w 7810497"/>
              <a:gd name="connsiteY0" fmla="*/ 0 h 2819400"/>
              <a:gd name="connsiteX1" fmla="*/ 0 w 7810497"/>
              <a:gd name="connsiteY1" fmla="*/ 0 h 2819400"/>
              <a:gd name="connsiteX2" fmla="*/ 0 w 7810497"/>
              <a:gd name="connsiteY2" fmla="*/ 2819400 h 2819400"/>
              <a:gd name="connsiteX3" fmla="*/ 7810497 w 7810497"/>
              <a:gd name="connsiteY3" fmla="*/ 2819400 h 2819400"/>
              <a:gd name="connsiteX4" fmla="*/ 7810497 w 7810497"/>
              <a:gd name="connsiteY4" fmla="*/ 1803400 h 2819400"/>
              <a:gd name="connsiteX5" fmla="*/ 6007097 w 7810497"/>
              <a:gd name="connsiteY5" fmla="*/ 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10497" h="2819400">
                <a:moveTo>
                  <a:pt x="6007097" y="0"/>
                </a:moveTo>
                <a:lnTo>
                  <a:pt x="0" y="0"/>
                </a:lnTo>
                <a:lnTo>
                  <a:pt x="0" y="2819400"/>
                </a:lnTo>
                <a:lnTo>
                  <a:pt x="7810497" y="2819400"/>
                </a:lnTo>
                <a:lnTo>
                  <a:pt x="7810497" y="1803400"/>
                </a:lnTo>
                <a:cubicBezTo>
                  <a:pt x="7810497" y="807410"/>
                  <a:pt x="7003087" y="0"/>
                  <a:pt x="6007097" y="0"/>
                </a:cubicBezTo>
                <a:close/>
              </a:path>
            </a:pathLst>
          </a:custGeom>
          <a:solidFill>
            <a:srgbClr val="C3C2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ACC01-A937-4271-A7CA-BDC2D6D394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264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264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828245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82903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7A88A4F-5ACA-4E7F-97B6-8D5BFDDB03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2480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199A3D1D-B068-40B9-94DE-750DA43F6A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2480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F12E05B-349E-468D-89CE-BFB1E0530A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28236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8ED6D48-CFEA-4D2F-80DC-CBDA51FDD9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28236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91AA2C9-234E-4CCE-ABF3-86C69A1A9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24" y="2249281"/>
            <a:ext cx="3438925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300">
                <a:solidFill>
                  <a:srgbClr val="00207D"/>
                </a:solidFill>
              </a:defRPr>
            </a:lvl2pPr>
            <a:lvl3pPr>
              <a:defRPr sz="1200">
                <a:solidFill>
                  <a:srgbClr val="00207D"/>
                </a:solidFill>
              </a:defRPr>
            </a:lvl3pPr>
            <a:lvl4pPr>
              <a:defRPr sz="1100">
                <a:solidFill>
                  <a:srgbClr val="00207D"/>
                </a:solidFill>
              </a:defRPr>
            </a:lvl4pPr>
            <a:lvl5pPr>
              <a:defRPr sz="10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465B5-E891-45FD-B2CD-F7832BDB64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B652CA5B-091A-4E89-9203-486E5C39F48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A2D3D61E-049A-48E0-9986-95DEF9C8F2B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122DD4A3-2094-47A6-87DB-03D72FCE8FB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9" name="addin_logo" hidden="1">
            <a:extLst>
              <a:ext uri="{FF2B5EF4-FFF2-40B4-BE49-F238E27FC236}">
                <a16:creationId xmlns:a16="http://schemas.microsoft.com/office/drawing/2014/main" id="{F2DDBE38-7E8E-4049-B6C7-D0729F6C696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title" hidden="1">
            <a:extLst>
              <a:ext uri="{FF2B5EF4-FFF2-40B4-BE49-F238E27FC236}">
                <a16:creationId xmlns:a16="http://schemas.microsoft.com/office/drawing/2014/main" id="{87107F74-6EEF-4C55-B579-31D86AEE85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1" name="addin_text" hidden="1">
            <a:extLst>
              <a:ext uri="{FF2B5EF4-FFF2-40B4-BE49-F238E27FC236}">
                <a16:creationId xmlns:a16="http://schemas.microsoft.com/office/drawing/2014/main" id="{1CC0094A-8549-4644-B35B-BC8DAAA1AAB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32" name="logo_blaa" hidden="1">
            <a:extLst>
              <a:ext uri="{FF2B5EF4-FFF2-40B4-BE49-F238E27FC236}">
                <a16:creationId xmlns:a16="http://schemas.microsoft.com/office/drawing/2014/main" id="{E576EF12-DB8B-404F-8D5C-EC2AE434A4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33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80F1D35-78F0-4066-BCC5-9ACED0AD49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4066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)">
    <p:bg>
      <p:bgPr>
        <a:solidFill>
          <a:srgbClr val="CECE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C455073B-9561-4C18-AE0B-2DBE98389C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96000" y="1720850"/>
            <a:ext cx="6096000" cy="5137150"/>
          </a:xfr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AEB2CF0-BD35-47EE-A838-C4F6293D9F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7429500" y="-1333500"/>
            <a:ext cx="3429000" cy="6096000"/>
          </a:xfrm>
          <a:prstGeom prst="round1Rect">
            <a:avLst>
              <a:gd name="adj" fmla="val 38889"/>
            </a:avLst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3429000"/>
            <a:ext cx="6096000" cy="3429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30D4A27-CB15-4024-A7B2-B0A0FBB527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6096000" cy="3429000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1600" y="3772800"/>
            <a:ext cx="556597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  <a:solidFill>
            <a:srgbClr val="0000FE">
              <a:alpha val="0"/>
            </a:srgbClr>
          </a:solidFill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253810" cy="430887"/>
          </a:xfrm>
          <a:solidFill>
            <a:srgbClr val="0000FE">
              <a:alpha val="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3579248" y="1073070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D8D130-C5B1-450A-822A-5F08E950A7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9600" y="1846800"/>
            <a:ext cx="2713758" cy="1241425"/>
          </a:xfrm>
        </p:spPr>
        <p:txBody>
          <a:bodyPr/>
          <a:lstStyle>
            <a:lvl1pPr marL="0" indent="0">
              <a:buNone/>
              <a:defRPr sz="1000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3772800"/>
            <a:ext cx="4660900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5B7438E-AE75-4FF7-BC5E-B7C2C0CE59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A4BDD34D-E03D-4646-867F-0721BEFA75DC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1, firefarg2</a:t>
            </a:r>
          </a:p>
        </p:txBody>
      </p:sp>
      <p:sp>
        <p:nvSpPr>
          <p:cNvPr id="29" name="addin_colorbox" hidden="1">
            <a:extLst>
              <a:ext uri="{FF2B5EF4-FFF2-40B4-BE49-F238E27FC236}">
                <a16:creationId xmlns:a16="http://schemas.microsoft.com/office/drawing/2014/main" id="{9E04BAB5-E565-4580-A95D-A8DBBBA206C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0" name="addin_background" hidden="1">
            <a:extLst>
              <a:ext uri="{FF2B5EF4-FFF2-40B4-BE49-F238E27FC236}">
                <a16:creationId xmlns:a16="http://schemas.microsoft.com/office/drawing/2014/main" id="{20312245-3B2C-45E0-A41F-9880DECB8AA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1" name="addin_logo" hidden="1">
            <a:extLst>
              <a:ext uri="{FF2B5EF4-FFF2-40B4-BE49-F238E27FC236}">
                <a16:creationId xmlns:a16="http://schemas.microsoft.com/office/drawing/2014/main" id="{0555D013-45BB-4434-BCD4-CA50C4FDF50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title" hidden="1">
            <a:extLst>
              <a:ext uri="{FF2B5EF4-FFF2-40B4-BE49-F238E27FC236}">
                <a16:creationId xmlns:a16="http://schemas.microsoft.com/office/drawing/2014/main" id="{3293E258-4BAB-4E3E-B382-2BF51368333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3" name="addin_text" hidden="1">
            <a:extLst>
              <a:ext uri="{FF2B5EF4-FFF2-40B4-BE49-F238E27FC236}">
                <a16:creationId xmlns:a16="http://schemas.microsoft.com/office/drawing/2014/main" id="{F306448A-BC82-40F1-B842-B6DB578BF4F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4" name="addin_spestext" hidden="1">
            <a:extLst>
              <a:ext uri="{FF2B5EF4-FFF2-40B4-BE49-F238E27FC236}">
                <a16:creationId xmlns:a16="http://schemas.microsoft.com/office/drawing/2014/main" id="{28414EB4-7508-47EB-8178-87FDD9A0F47B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E3844F34-BF24-4DE8-8F36-35D26CD26D68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CBF3C7C-55B9-484F-8323-BAF8BDA704CE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06FD54A-FD2A-49F0-83FB-443C74F64F15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8FD9630B-D6BC-493A-BBE8-569F372E8290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31A0D69A-9581-4EBF-B323-5DB0479996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4194000"/>
            <a:ext cx="4660899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EC8A8337-24E7-481A-8588-D5597050FC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11600" y="4194000"/>
            <a:ext cx="5565974" cy="78556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5F335A74-0045-4431-93C5-38BA94BA92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291600" y="910800"/>
            <a:ext cx="2685974" cy="48487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43" name="logo_blaa" hidden="1">
            <a:extLst>
              <a:ext uri="{FF2B5EF4-FFF2-40B4-BE49-F238E27FC236}">
                <a16:creationId xmlns:a16="http://schemas.microsoft.com/office/drawing/2014/main" id="{DAC5787D-1E24-4E9E-AA12-88036342F1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4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DF51510-C3D8-40F0-8057-9A27CB756D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8730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, 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2F04CD96-D11A-4B44-912B-ADD88AA349C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0108" y="2411834"/>
            <a:ext cx="4077730" cy="4446166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700E0BD-BA45-4A7E-A9CC-E715CDB8E7C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7730" y="0"/>
            <a:ext cx="4036542" cy="4316164"/>
          </a:xfrm>
          <a:solidFill>
            <a:srgbClr val="FFFFFF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4400294" y="3144021"/>
            <a:ext cx="3397251" cy="4030705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60C567-3FD3-4899-98EB-BA303D6775D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422761" y="-308490"/>
            <a:ext cx="3460748" cy="4077730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CECDE7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0"/>
            <a:ext cx="4083566" cy="6858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06959" y="4114895"/>
            <a:ext cx="3080679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9182117" y="4069602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1228528"/>
            <a:ext cx="3253812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7576959-282F-48A7-93E6-CDC621CBB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72509" y="167205"/>
            <a:ext cx="350506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77FC5C6-3FFB-4293-812F-50F87293B3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DE7A0B9B-A159-4769-AA7E-43F8A26DEAA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3, firefarg4</a:t>
            </a:r>
          </a:p>
        </p:txBody>
      </p:sp>
      <p:sp>
        <p:nvSpPr>
          <p:cNvPr id="28" name="addin_colorbox" hidden="1">
            <a:extLst>
              <a:ext uri="{FF2B5EF4-FFF2-40B4-BE49-F238E27FC236}">
                <a16:creationId xmlns:a16="http://schemas.microsoft.com/office/drawing/2014/main" id="{A723CA78-23AE-48CA-B30D-BC65F7A9A3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background" hidden="1">
            <a:extLst>
              <a:ext uri="{FF2B5EF4-FFF2-40B4-BE49-F238E27FC236}">
                <a16:creationId xmlns:a16="http://schemas.microsoft.com/office/drawing/2014/main" id="{FDB0DF5E-1B59-4D22-8E8C-0E8E2795D31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CC87C9FE-39EB-4A6D-868B-7B8E1B4B3B1C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title" hidden="1">
            <a:extLst>
              <a:ext uri="{FF2B5EF4-FFF2-40B4-BE49-F238E27FC236}">
                <a16:creationId xmlns:a16="http://schemas.microsoft.com/office/drawing/2014/main" id="{2147B6EF-8E5B-42EE-B44C-8A50E0911D9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4" name="addin_text" hidden="1">
            <a:extLst>
              <a:ext uri="{FF2B5EF4-FFF2-40B4-BE49-F238E27FC236}">
                <a16:creationId xmlns:a16="http://schemas.microsoft.com/office/drawing/2014/main" id="{F117A96B-03C2-43F0-BDD8-8161858E432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6" name="addin_image" hidden="1">
            <a:extLst>
              <a:ext uri="{FF2B5EF4-FFF2-40B4-BE49-F238E27FC236}">
                <a16:creationId xmlns:a16="http://schemas.microsoft.com/office/drawing/2014/main" id="{870B3DFC-356E-466E-A04C-39E936E6E326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D39FA83-C4E7-4637-ABFB-525099A04B9B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A7530B15-9197-446D-BAD0-B354241C94F9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12CFCD8F-01FE-4654-871C-7FF1504A9466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73D33CA6-FE73-4DD0-A18B-77AA905F72DD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2CE2E79D-4BE6-4DCF-BE36-0B43C13C47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1695722"/>
            <a:ext cx="3253811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8AE6BBE8-A093-48FC-8519-587B0A829E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472510" y="603919"/>
            <a:ext cx="3505064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CD107A-6138-4458-8580-DDA462984F8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06960" y="4551609"/>
            <a:ext cx="3080680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44" name="logo_blaa" hidden="1">
            <a:extLst>
              <a:ext uri="{FF2B5EF4-FFF2-40B4-BE49-F238E27FC236}">
                <a16:creationId xmlns:a16="http://schemas.microsoft.com/office/drawing/2014/main" id="{44AD89B6-8461-45C7-8250-A0DDF2E381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4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DCC607E2-E871-4CC3-8D75-E3F83C066E4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7173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5270105" y="-63898"/>
            <a:ext cx="4292600" cy="9551195"/>
          </a:xfrm>
          <a:prstGeom prst="round1Rect">
            <a:avLst>
              <a:gd name="adj" fmla="val 43590"/>
            </a:avLst>
          </a:pr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73029" y="634781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73029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328" y="407521"/>
            <a:ext cx="6746085" cy="1284754"/>
          </a:xfrm>
        </p:spPr>
        <p:txBody>
          <a:bodyPr anchor="ctr"/>
          <a:lstStyle>
            <a:lvl1pPr>
              <a:lnSpc>
                <a:spcPct val="90000"/>
              </a:lnSpc>
              <a:defRPr sz="10000"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68846015-2A3B-446D-A0B8-D29C61C01F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63755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B9BD4B98-07E6-4F80-AF51-2316CD968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3755" y="6347818"/>
            <a:ext cx="1846659" cy="15388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9BF6C8A6-65BE-42D3-BEB6-7005D686B5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0800000">
            <a:off x="7561943" y="0"/>
            <a:ext cx="4630057" cy="6858001"/>
          </a:xfrm>
          <a:prstGeom prst="round1Rect">
            <a:avLst>
              <a:gd name="adj" fmla="val 47979"/>
            </a:avLst>
          </a:prstGeom>
          <a:solidFill>
            <a:srgbClr val="00579E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6F1FE8-28E4-4C92-9D93-7B8DCD67097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1BD38ED4-B725-4AAB-9487-255EBB7049C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ste1, siste2, siste3, siste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6F4D908F-B453-4F18-BE82-ACB5B2DA82B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FC09F4C-2DCB-4C69-9F83-FBEF8B9EA1E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052BDCAC-5BC9-42C5-8C89-4398E2F45DA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305CCF73-19C7-4C9B-893D-1D0A7E0B1B9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03A08D40-C143-4FDB-834C-4EDCBBAB098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spestext" hidden="1">
            <a:extLst>
              <a:ext uri="{FF2B5EF4-FFF2-40B4-BE49-F238E27FC236}">
                <a16:creationId xmlns:a16="http://schemas.microsoft.com/office/drawing/2014/main" id="{282BCBC8-4FEA-4F9A-A003-2C640A6FBC6E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7286-2074-4AB7-850D-1D7DDD1937D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8608" y="6115219"/>
            <a:ext cx="1640683" cy="46166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z="1000" dirty="0">
                <a:solidFill>
                  <a:srgbClr val="00207D"/>
                </a:solidFill>
              </a:rPr>
              <a:t>Sparebank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Facebook.com/sb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@sb1ostlandet</a:t>
            </a:r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2DB8AE09-CD4A-45F7-950C-8FF439D201A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7" name="logo_blaa" hidden="1">
            <a:extLst>
              <a:ext uri="{FF2B5EF4-FFF2-40B4-BE49-F238E27FC236}">
                <a16:creationId xmlns:a16="http://schemas.microsoft.com/office/drawing/2014/main" id="{2117E0F6-C7D7-4AAF-8CA2-440762CF54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9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1EA269C2-272B-4380-B13A-0C883C3B12F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9965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FC056B-C59F-4497-9C7A-409816C61A10}" type="datetimeFigureOut">
              <a:rPr lang="en-US" smtClean="0"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350B7-B9C6-4D95-8DED-14AC556352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8317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54689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D75FC5D-6F55-45E1-BA2B-4AD0149F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B5EFC96-E4EE-4FE8-B92E-AF05CED0CD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93031825-807F-472B-AF88-ED6DD1CD310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/>
              <a:t>clr1, clr2, clr3, clr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4F1E6E-F1BA-4219-A7A6-F50B1C2A1EE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colorbox</a:t>
            </a:r>
            <a:endParaRPr lang="nb-NO" sz="3699" dirty="0"/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DC5899DE-05C4-455E-9646-5E8813CF710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background</a:t>
            </a:r>
            <a:endParaRPr lang="nb-NO" sz="3699" dirty="0"/>
          </a:p>
        </p:txBody>
      </p:sp>
      <p:sp>
        <p:nvSpPr>
          <p:cNvPr id="12" name="addin_logo" hidden="1">
            <a:extLst>
              <a:ext uri="{FF2B5EF4-FFF2-40B4-BE49-F238E27FC236}">
                <a16:creationId xmlns:a16="http://schemas.microsoft.com/office/drawing/2014/main" id="{BACC81DC-258C-49C1-8853-1FE54172C6A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logo</a:t>
            </a:r>
            <a:endParaRPr lang="nb-NO" sz="3699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087211ED-582A-466E-942B-54ECB00D05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title</a:t>
            </a:r>
            <a:endParaRPr lang="nb-NO" sz="3699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81C5F396-DEF8-49C6-8C44-EC521A266BB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99" dirty="0" err="1"/>
              <a:t>addin_text</a:t>
            </a:r>
            <a:endParaRPr lang="nb-NO" sz="3699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BB78D4CA-637C-4477-BB8E-A7ECD33F38DA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6D0BF25A-5A8D-48DE-AE1A-E9F9953D6C93}"/>
              </a:ext>
            </a:extLst>
          </p:cNvPr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9200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48716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1236838" y="1854234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4"/>
          </p:nvPr>
        </p:nvSpPr>
        <p:spPr>
          <a:xfrm>
            <a:off x="2664506" y="703890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  <p:sp>
        <p:nvSpPr>
          <p:cNvPr id="9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1236838" y="703890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1236838" y="4154922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1236838" y="3004578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2" name="Plassholder for tekst 5"/>
          <p:cNvSpPr>
            <a:spLocks noGrp="1"/>
          </p:cNvSpPr>
          <p:nvPr>
            <p:ph type="body" sz="quarter" idx="18" hasCustomPrompt="1"/>
          </p:nvPr>
        </p:nvSpPr>
        <p:spPr>
          <a:xfrm>
            <a:off x="1236838" y="5305266"/>
            <a:ext cx="1425871" cy="759695"/>
          </a:xfrm>
          <a:blipFill>
            <a:blip r:embed="rId2"/>
            <a:stretch>
              <a:fillRect/>
            </a:stretch>
          </a:blipFill>
        </p:spPr>
        <p:txBody>
          <a:bodyPr anchor="ctr" anchorCtr="0">
            <a:noAutofit/>
          </a:bodyPr>
          <a:lstStyle>
            <a:lvl1pPr marL="0" indent="0">
              <a:buNone/>
              <a:defRPr sz="6949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3" name="Plassholder for tekst 7"/>
          <p:cNvSpPr>
            <a:spLocks noGrp="1"/>
          </p:cNvSpPr>
          <p:nvPr>
            <p:ph type="body" sz="quarter" idx="19"/>
          </p:nvPr>
        </p:nvSpPr>
        <p:spPr>
          <a:xfrm>
            <a:off x="2664506" y="1854234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  <p:sp>
        <p:nvSpPr>
          <p:cNvPr id="14" name="Plassholder for tekst 7"/>
          <p:cNvSpPr>
            <a:spLocks noGrp="1"/>
          </p:cNvSpPr>
          <p:nvPr>
            <p:ph type="body" sz="quarter" idx="20"/>
          </p:nvPr>
        </p:nvSpPr>
        <p:spPr>
          <a:xfrm>
            <a:off x="2664506" y="3004578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  <p:sp>
        <p:nvSpPr>
          <p:cNvPr id="15" name="Plassholder for tekst 7"/>
          <p:cNvSpPr>
            <a:spLocks noGrp="1"/>
          </p:cNvSpPr>
          <p:nvPr>
            <p:ph type="body" sz="quarter" idx="21"/>
          </p:nvPr>
        </p:nvSpPr>
        <p:spPr>
          <a:xfrm>
            <a:off x="2662705" y="4154922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  <p:sp>
        <p:nvSpPr>
          <p:cNvPr id="16" name="Plassholder for tekst 7"/>
          <p:cNvSpPr>
            <a:spLocks noGrp="1"/>
          </p:cNvSpPr>
          <p:nvPr>
            <p:ph type="body" sz="quarter" idx="22"/>
          </p:nvPr>
        </p:nvSpPr>
        <p:spPr>
          <a:xfrm>
            <a:off x="2662705" y="5291605"/>
            <a:ext cx="8924459" cy="759695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4149">
                <a:solidFill>
                  <a:schemeClr val="accent1"/>
                </a:solidFill>
              </a:defRPr>
            </a:lvl1pPr>
          </a:lstStyle>
          <a:p>
            <a:pPr lvl="0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42708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10B15B95-7E4F-49BD-86F8-CD48FDE599A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7" name="addin_colorbox" hidden="1">
            <a:extLst>
              <a:ext uri="{FF2B5EF4-FFF2-40B4-BE49-F238E27FC236}">
                <a16:creationId xmlns:a16="http://schemas.microsoft.com/office/drawing/2014/main" id="{60F511CE-520D-4D58-978B-A742962CBB1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8309DFEF-9575-4318-B437-CBFF2E4AF83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67036A9A-33C9-40AC-910B-E05856E9B2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09D6E0DE-92FA-4CF9-95A6-8B562FF54A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CFE1FC6-4BD8-45F8-B934-22BCC395D00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6A144EF-35F3-4471-82EB-B8135768E0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E8359437-33FC-46C9-C697-0ACEF148B62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723A2E89-DFFF-D0CF-2F33-7FF6359A5D63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3650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9BB2EB-AC30-458C-8A51-78396746304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94140" y="3746500"/>
            <a:ext cx="7797860" cy="31115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129452"/>
            <a:ext cx="4077436" cy="2308324"/>
          </a:xfrm>
        </p:spPr>
        <p:txBody>
          <a:bodyPr>
            <a:noAutofit/>
          </a:bodyPr>
          <a:lstStyle>
            <a:lvl1pPr marL="0" indent="0">
              <a:buNone/>
              <a:defRPr sz="15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900" y="4231704"/>
            <a:ext cx="6681674" cy="9685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5900" y="5385925"/>
            <a:ext cx="6681674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D686DF5-6783-49D1-A41E-12D23A566A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59C43119-D1A7-415A-9B56-BB4C24B48D4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B3653F2D-47AC-43E1-A4F9-A6890FE46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6546765-0756-4B17-9E12-187EA7A828E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184A1887-91A2-4FF0-90C1-337F68E109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F5BC4CF7-4561-4A71-AF04-561C00C4AD4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863F087-9D6E-4220-8839-5C80E284A31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84A80EA-372E-4020-AAFF-EA2E11888C8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DE3EFA86-4F0D-4D8F-A8A2-EC95FFEC0C4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D446ADD6-76DB-CDC1-773D-406373409C8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883B990A-E9D4-01AC-868D-580B67DCD11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44004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EEAE7072-01C1-4DF3-80E4-4516BFCB485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94299EF5-C168-4C2D-A788-7915DA1A1243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10883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 forside uten bil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ihåndsform: figur 34">
            <a:extLst>
              <a:ext uri="{FF2B5EF4-FFF2-40B4-BE49-F238E27FC236}">
                <a16:creationId xmlns:a16="http://schemas.microsoft.com/office/drawing/2014/main" id="{FEC2C7E8-2BAA-4586-B492-F62F07C9E11E}"/>
              </a:ext>
            </a:extLst>
          </p:cNvPr>
          <p:cNvSpPr/>
          <p:nvPr userDrawn="1"/>
        </p:nvSpPr>
        <p:spPr>
          <a:xfrm>
            <a:off x="8643130" y="4478410"/>
            <a:ext cx="3548870" cy="2379590"/>
          </a:xfrm>
          <a:custGeom>
            <a:avLst/>
            <a:gdLst>
              <a:gd name="connsiteX0" fmla="*/ 3548870 w 3548870"/>
              <a:gd name="connsiteY0" fmla="*/ 0 h 2379590"/>
              <a:gd name="connsiteX1" fmla="*/ 3548870 w 3548870"/>
              <a:gd name="connsiteY1" fmla="*/ 2379590 h 2379590"/>
              <a:gd name="connsiteX2" fmla="*/ 0 w 3548870"/>
              <a:gd name="connsiteY2" fmla="*/ 2379590 h 2379590"/>
              <a:gd name="connsiteX3" fmla="*/ 72242 w 3548870"/>
              <a:gd name="connsiteY3" fmla="*/ 2218043 h 2379590"/>
              <a:gd name="connsiteX4" fmla="*/ 3364761 w 3548870"/>
              <a:gd name="connsiteY4" fmla="*/ 4706 h 2379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8870" h="2379590">
                <a:moveTo>
                  <a:pt x="3548870" y="0"/>
                </a:moveTo>
                <a:lnTo>
                  <a:pt x="3548870" y="2379590"/>
                </a:lnTo>
                <a:lnTo>
                  <a:pt x="0" y="2379590"/>
                </a:lnTo>
                <a:lnTo>
                  <a:pt x="72242" y="2218043"/>
                </a:lnTo>
                <a:cubicBezTo>
                  <a:pt x="670673" y="962488"/>
                  <a:pt x="1912166" y="79145"/>
                  <a:pt x="3364761" y="47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AC732900-C482-4FED-BE14-15E1B9D9A0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7094193" cy="5000626"/>
          </a:xfrm>
          <a:custGeom>
            <a:avLst/>
            <a:gdLst>
              <a:gd name="connsiteX0" fmla="*/ 0 w 7094193"/>
              <a:gd name="connsiteY0" fmla="*/ 0 h 5000626"/>
              <a:gd name="connsiteX1" fmla="*/ 7094193 w 7094193"/>
              <a:gd name="connsiteY1" fmla="*/ 0 h 5000626"/>
              <a:gd name="connsiteX2" fmla="*/ 7085079 w 7094193"/>
              <a:gd name="connsiteY2" fmla="*/ 52590 h 5000626"/>
              <a:gd name="connsiteX3" fmla="*/ 1193800 w 7094193"/>
              <a:gd name="connsiteY3" fmla="*/ 5000626 h 5000626"/>
              <a:gd name="connsiteX4" fmla="*/ 278011 w 7094193"/>
              <a:gd name="connsiteY4" fmla="*/ 4929224 h 5000626"/>
              <a:gd name="connsiteX5" fmla="*/ 0 w 7094193"/>
              <a:gd name="connsiteY5" fmla="*/ 4878061 h 5000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94193" h="5000626">
                <a:moveTo>
                  <a:pt x="0" y="0"/>
                </a:moveTo>
                <a:lnTo>
                  <a:pt x="7094193" y="0"/>
                </a:lnTo>
                <a:lnTo>
                  <a:pt x="7085079" y="52590"/>
                </a:lnTo>
                <a:cubicBezTo>
                  <a:pt x="6524347" y="2876429"/>
                  <a:pt x="4099795" y="5000626"/>
                  <a:pt x="1193800" y="5000626"/>
                </a:cubicBezTo>
                <a:cubicBezTo>
                  <a:pt x="882444" y="5000626"/>
                  <a:pt x="576614" y="4976241"/>
                  <a:pt x="278011" y="4929224"/>
                </a:cubicBezTo>
                <a:lnTo>
                  <a:pt x="0" y="487806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Ellipse 26" hidden="1">
            <a:extLst>
              <a:ext uri="{FF2B5EF4-FFF2-40B4-BE49-F238E27FC236}">
                <a16:creationId xmlns:a16="http://schemas.microsoft.com/office/drawing/2014/main" id="{C58EF7F7-76C4-4C70-91FC-28F032BC9284}"/>
              </a:ext>
            </a:extLst>
          </p:cNvPr>
          <p:cNvSpPr/>
          <p:nvPr userDrawn="1"/>
        </p:nvSpPr>
        <p:spPr>
          <a:xfrm>
            <a:off x="-4819651" y="-7393244"/>
            <a:ext cx="12026901" cy="12393870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Ellipse 6" hidden="1">
            <a:extLst>
              <a:ext uri="{FF2B5EF4-FFF2-40B4-BE49-F238E27FC236}">
                <a16:creationId xmlns:a16="http://schemas.microsoft.com/office/drawing/2014/main" id="{E7AB5697-707D-455B-8619-528309D6ACBF}"/>
              </a:ext>
            </a:extLst>
          </p:cNvPr>
          <p:cNvSpPr/>
          <p:nvPr userDrawn="1"/>
        </p:nvSpPr>
        <p:spPr>
          <a:xfrm>
            <a:off x="8333366" y="4478020"/>
            <a:ext cx="7747747" cy="7832637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logo_blaa" hidden="1">
            <a:extLst>
              <a:ext uri="{FF2B5EF4-FFF2-40B4-BE49-F238E27FC236}">
                <a16:creationId xmlns:a16="http://schemas.microsoft.com/office/drawing/2014/main" id="{F1732973-F080-4B2A-A2AC-33AD01FF0ED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8551060C-D877-407F-9792-D933A333328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8963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59095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6" y="4019550"/>
            <a:ext cx="5559095" cy="170815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9863" y="0"/>
            <a:ext cx="5672137" cy="6858000"/>
          </a:xfrm>
          <a:solidFill>
            <a:schemeClr val="accen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5B07D191-5165-41F0-9CA0-2D9A13FDE7A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48B445A7-2708-42E6-87CD-7BBE618FCB9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7AC23A7A-D883-4E96-90A1-C32758913D6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873DE8BD-C805-4280-9DAE-151FB5B3C74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B412EC9B-5739-4D54-AD85-89BAAB9B5DD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DC8B4B2D-F48D-4D80-9952-A71F5977CA9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4C581-6E50-4372-88CE-BC943FC4A2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3A06D244-5520-41C4-B5E5-C0A0DF4B407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404A2A7E-79DA-4E12-8A5E-415AF8F61F7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19941D42-5924-4D8F-85FC-70505D93AA4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E3F585CE-6DDC-41B2-8C16-4E3E45C6979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2672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, sirkel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B580BDA-A445-4961-A52C-2EBE49B4CC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6888" y="0"/>
            <a:ext cx="6245112" cy="5842000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197D727A-94BE-452B-BBC5-24C2FF6C5FB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CDFAC477-520D-464D-A809-BA8D7CE2598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85424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4DA4748-4F43-4F1B-AAEB-2ED411E5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C94E69BD-0A56-40F8-B68A-E3D823537E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D1EDA5DC-474F-4369-8152-D656FEB6ADA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15396179-4FC6-46C7-82A4-0F380217A02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5048B53-A7C6-4F18-96FB-30937FDBA63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5FF0EACC-C50A-44B5-8C4D-444ED159113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CFE3393-AB3C-44EB-AFC3-F01B9D65C2D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49EF98D6-91C4-4ED8-AF8C-C1F414AB396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62A94A90-C24C-4B65-9E95-C37CC0783BA5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383B2994-7511-4962-8284-15D6C005FFA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28699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52763ED-CF70-4772-BB44-DC41205ED8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5" y="2288796"/>
            <a:ext cx="5560333" cy="1938992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6" y="4338863"/>
            <a:ext cx="5560332" cy="1708150"/>
          </a:xfrm>
        </p:spPr>
        <p:txBody>
          <a:bodyPr anchor="t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8EE8199-86B9-4779-8FFF-E942D0D919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C1C65D8-3327-4A0F-A16F-F092745C825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E8AD148F-21A9-43AC-99D2-45BA43F665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418948F-C32B-4E23-AD6D-7451FE13932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9579EA3C-8EEC-474C-B378-87DCAEEDEED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170DAD57-37FB-44B9-AB07-2453F6D0428D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2128C84B-197A-4C62-8A3B-2AD4F5CFE1C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640345A6-8FBC-47B0-B8DD-333C5CBE232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logo_blaa" hidden="1">
            <a:extLst>
              <a:ext uri="{FF2B5EF4-FFF2-40B4-BE49-F238E27FC236}">
                <a16:creationId xmlns:a16="http://schemas.microsoft.com/office/drawing/2014/main" id="{F925CD9A-4ADE-4678-BE0E-8C1079543275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10" name="logo_hvit" hidden="1">
            <a:extLst>
              <a:ext uri="{FF2B5EF4-FFF2-40B4-BE49-F238E27FC236}">
                <a16:creationId xmlns:a16="http://schemas.microsoft.com/office/drawing/2014/main" id="{404CFB55-B98E-425A-991F-BF5E4F8E0B3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82612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2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DDD0D1-7607-4D30-B017-29557565B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24148" y="0"/>
            <a:ext cx="9467852" cy="5341258"/>
          </a:xfrm>
          <a:custGeom>
            <a:avLst/>
            <a:gdLst>
              <a:gd name="connsiteX0" fmla="*/ 13212 w 9467852"/>
              <a:gd name="connsiteY0" fmla="*/ 0 h 5341258"/>
              <a:gd name="connsiteX1" fmla="*/ 9467852 w 9467852"/>
              <a:gd name="connsiteY1" fmla="*/ 0 h 5341258"/>
              <a:gd name="connsiteX2" fmla="*/ 9467852 w 9467852"/>
              <a:gd name="connsiteY2" fmla="*/ 2559831 h 5341258"/>
              <a:gd name="connsiteX3" fmla="*/ 9387475 w 9467852"/>
              <a:gd name="connsiteY3" fmla="*/ 2726709 h 5341258"/>
              <a:gd name="connsiteX4" fmla="*/ 4995184 w 9467852"/>
              <a:gd name="connsiteY4" fmla="*/ 5341258 h 5341258"/>
              <a:gd name="connsiteX5" fmla="*/ 0 w 9467852"/>
              <a:gd name="connsiteY5" fmla="*/ 345373 h 5341258"/>
              <a:gd name="connsiteX6" fmla="*/ 6500 w 9467852"/>
              <a:gd name="connsiteY6" fmla="*/ 88286 h 534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7852" h="5341258">
                <a:moveTo>
                  <a:pt x="13212" y="0"/>
                </a:moveTo>
                <a:lnTo>
                  <a:pt x="9467852" y="0"/>
                </a:lnTo>
                <a:lnTo>
                  <a:pt x="9467852" y="2559831"/>
                </a:lnTo>
                <a:lnTo>
                  <a:pt x="9387475" y="2726709"/>
                </a:lnTo>
                <a:cubicBezTo>
                  <a:pt x="8541594" y="4284052"/>
                  <a:pt x="6891833" y="5341258"/>
                  <a:pt x="4995184" y="5341258"/>
                </a:cubicBezTo>
                <a:cubicBezTo>
                  <a:pt x="2236421" y="5341258"/>
                  <a:pt x="0" y="3104524"/>
                  <a:pt x="0" y="345373"/>
                </a:cubicBezTo>
                <a:cubicBezTo>
                  <a:pt x="0" y="259150"/>
                  <a:pt x="2184" y="173436"/>
                  <a:pt x="6500" y="8828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54327" y="50800"/>
            <a:ext cx="6837674" cy="6807200"/>
          </a:xfrm>
          <a:custGeom>
            <a:avLst/>
            <a:gdLst>
              <a:gd name="connsiteX0" fmla="*/ 6805412 w 6837674"/>
              <a:gd name="connsiteY0" fmla="*/ 0 h 6807200"/>
              <a:gd name="connsiteX1" fmla="*/ 6837674 w 6837674"/>
              <a:gd name="connsiteY1" fmla="*/ 822 h 6807200"/>
              <a:gd name="connsiteX2" fmla="*/ 6837674 w 6837674"/>
              <a:gd name="connsiteY2" fmla="*/ 6807200 h 6807200"/>
              <a:gd name="connsiteX3" fmla="*/ 0 w 6837674"/>
              <a:gd name="connsiteY3" fmla="*/ 6807200 h 6807200"/>
              <a:gd name="connsiteX4" fmla="*/ 7582 w 6837674"/>
              <a:gd name="connsiteY4" fmla="*/ 6505088 h 6807200"/>
              <a:gd name="connsiteX5" fmla="*/ 6805412 w 6837674"/>
              <a:gd name="connsiteY5" fmla="*/ 0 h 680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7674" h="6807200">
                <a:moveTo>
                  <a:pt x="6805412" y="0"/>
                </a:moveTo>
                <a:lnTo>
                  <a:pt x="6837674" y="822"/>
                </a:lnTo>
                <a:lnTo>
                  <a:pt x="6837674" y="6807200"/>
                </a:lnTo>
                <a:lnTo>
                  <a:pt x="0" y="6807200"/>
                </a:lnTo>
                <a:lnTo>
                  <a:pt x="7582" y="6505088"/>
                </a:lnTo>
                <a:cubicBezTo>
                  <a:pt x="189887" y="2881528"/>
                  <a:pt x="3163658" y="0"/>
                  <a:pt x="6805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821C79A-09F0-415C-ABA8-F68C1FBFB8B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68399" y="2474118"/>
            <a:ext cx="2082800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9E87C030-834C-4DD1-ACF4-9E176AA7FB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5" y="2474118"/>
            <a:ext cx="308763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1A815E2-8392-4901-B494-FC72347B46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D4BFF5A0-D5F1-466F-8F8F-752A0CF7B9F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2703FF8-08E6-435B-BC69-B46322B3C88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86BCDAB5-94E1-4029-873A-6AAA0DF90F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420A2D1-A6FA-4817-8190-221B5B1AC7F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39DA551-001F-4769-BA32-95ED85E0D8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DA1777B3-13AE-4111-8C56-F4E837BF47B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F74E35BB-3239-4B07-AEB8-6D0E5BDC129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45222801-A3EF-4C0B-907B-A0557CEB106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56DB59A1-ECBE-49C2-AC58-0C62E9019519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73124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Bullets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F05E5-4985-4C05-9562-7EDA2EA06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9635" y="2474119"/>
            <a:ext cx="4283866" cy="2398823"/>
          </a:xfrm>
          <a:prstGeom prst="rect">
            <a:avLst/>
          </a:prstGeom>
        </p:spPr>
        <p:txBody>
          <a:bodyPr lIns="0" tIns="0" rIns="0" bIns="0"/>
          <a:lstStyle>
            <a:lvl1pPr marL="2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7452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3pPr>
            <a:lvl4pPr marL="163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4pPr>
            <a:lvl5pPr marL="20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D9509D-1F87-4CAD-BC94-A4964D7947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74D0B008-DE7E-47CB-875B-CF47AB39A06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1BD67AD2-2095-475B-A5AD-628752A6DD2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7E11CD56-B9C0-419B-8A36-BB48536752F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0093EA9-B48E-408D-BF34-563BEACBA4D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C32B9E1F-DA12-4F53-805F-DC377D7702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D6980C80-9C4B-40C0-9EBB-CAF66C85577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18C0116C-C2F0-4272-B65F-C60714918693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B7BC6600-B857-4DD2-B7C9-0E004A6DAE2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B8430256-887D-49A7-B82E-A5800BA12686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A16BD7A6-BCEA-44F8-890E-75AEB9250F9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61420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DE15B9-BBD7-42A7-B667-4AABA4393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6118" y="0"/>
            <a:ext cx="6908798" cy="3589020"/>
          </a:xfrm>
          <a:custGeom>
            <a:avLst/>
            <a:gdLst>
              <a:gd name="connsiteX0" fmla="*/ 53674 w 6908798"/>
              <a:gd name="connsiteY0" fmla="*/ 0 h 3589020"/>
              <a:gd name="connsiteX1" fmla="*/ 6855124 w 6908798"/>
              <a:gd name="connsiteY1" fmla="*/ 0 h 3589020"/>
              <a:gd name="connsiteX2" fmla="*/ 6890963 w 6908798"/>
              <a:gd name="connsiteY2" fmla="*/ 208491 h 3589020"/>
              <a:gd name="connsiteX3" fmla="*/ 6908798 w 6908798"/>
              <a:gd name="connsiteY3" fmla="*/ 522069 h 3589020"/>
              <a:gd name="connsiteX4" fmla="*/ 3454399 w 6908798"/>
              <a:gd name="connsiteY4" fmla="*/ 3589020 h 3589020"/>
              <a:gd name="connsiteX5" fmla="*/ 0 w 6908798"/>
              <a:gd name="connsiteY5" fmla="*/ 522069 h 3589020"/>
              <a:gd name="connsiteX6" fmla="*/ 17835 w 6908798"/>
              <a:gd name="connsiteY6" fmla="*/ 208491 h 358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8798" h="3589020">
                <a:moveTo>
                  <a:pt x="53674" y="0"/>
                </a:moveTo>
                <a:lnTo>
                  <a:pt x="6855124" y="0"/>
                </a:lnTo>
                <a:lnTo>
                  <a:pt x="6890963" y="208491"/>
                </a:lnTo>
                <a:cubicBezTo>
                  <a:pt x="6902757" y="311593"/>
                  <a:pt x="6908798" y="416205"/>
                  <a:pt x="6908798" y="522069"/>
                </a:cubicBezTo>
                <a:cubicBezTo>
                  <a:pt x="6908798" y="2215899"/>
                  <a:pt x="5362211" y="3589020"/>
                  <a:pt x="3454399" y="3589020"/>
                </a:cubicBezTo>
                <a:cubicBezTo>
                  <a:pt x="1546587" y="3589020"/>
                  <a:pt x="0" y="2215899"/>
                  <a:pt x="0" y="522069"/>
                </a:cubicBezTo>
                <a:cubicBezTo>
                  <a:pt x="0" y="416205"/>
                  <a:pt x="6042" y="311593"/>
                  <a:pt x="17835" y="208491"/>
                </a:cubicBezTo>
                <a:close/>
              </a:path>
            </a:pathLst>
          </a:custGeom>
          <a:solidFill>
            <a:srgbClr val="F3DED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5C2C1ED-04B4-4BB0-995F-FBE0210316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89258" y="1"/>
            <a:ext cx="6502743" cy="5821831"/>
          </a:xfrm>
          <a:custGeom>
            <a:avLst/>
            <a:gdLst>
              <a:gd name="connsiteX0" fmla="*/ 641777 w 6502743"/>
              <a:gd name="connsiteY0" fmla="*/ 0 h 5821831"/>
              <a:gd name="connsiteX1" fmla="*/ 6502743 w 6502743"/>
              <a:gd name="connsiteY1" fmla="*/ 0 h 5821831"/>
              <a:gd name="connsiteX2" fmla="*/ 6502743 w 6502743"/>
              <a:gd name="connsiteY2" fmla="*/ 4581393 h 5821831"/>
              <a:gd name="connsiteX3" fmla="*/ 6368283 w 6502743"/>
              <a:gd name="connsiteY3" fmla="*/ 4729320 h 5821831"/>
              <a:gd name="connsiteX4" fmla="*/ 3730454 w 6502743"/>
              <a:gd name="connsiteY4" fmla="*/ 5821831 h 5821831"/>
              <a:gd name="connsiteX5" fmla="*/ 0 w 6502743"/>
              <a:gd name="connsiteY5" fmla="*/ 2091765 h 5821831"/>
              <a:gd name="connsiteX6" fmla="*/ 637103 w 6502743"/>
              <a:gd name="connsiteY6" fmla="*/ 6249 h 5821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2743" h="5821831">
                <a:moveTo>
                  <a:pt x="641777" y="0"/>
                </a:moveTo>
                <a:lnTo>
                  <a:pt x="6502743" y="0"/>
                </a:lnTo>
                <a:lnTo>
                  <a:pt x="6502743" y="4581393"/>
                </a:lnTo>
                <a:lnTo>
                  <a:pt x="6368283" y="4729320"/>
                </a:lnTo>
                <a:cubicBezTo>
                  <a:pt x="5693204" y="5404330"/>
                  <a:pt x="4760591" y="5821831"/>
                  <a:pt x="3730454" y="5821831"/>
                </a:cubicBezTo>
                <a:cubicBezTo>
                  <a:pt x="1670181" y="5821831"/>
                  <a:pt x="0" y="4151824"/>
                  <a:pt x="0" y="2091765"/>
                </a:cubicBezTo>
                <a:cubicBezTo>
                  <a:pt x="0" y="1319243"/>
                  <a:pt x="234870" y="601572"/>
                  <a:pt x="637103" y="6249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4952257"/>
            <a:ext cx="5912646" cy="969496"/>
          </a:xfrm>
        </p:spPr>
        <p:txBody>
          <a:bodyPr anchor="b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5976769"/>
            <a:ext cx="591264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0380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7CC54D-2DC9-48B2-9120-D93F728550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B2FE8A8-D76E-449B-9226-24FC2258849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3E1D7BB8-B7E0-4C40-B081-6B8B4100FF7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61618193-91F3-4633-AF08-71C2D692B01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C1EA0EA8-9984-4892-BBD2-610B78FD97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67C023F-45C9-4C10-A2C9-E1C6D66C3B1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6DF5DEA-4A8C-4684-BC3D-9C6A3A811E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BA3F25F2-9508-42A0-840B-E7E985081894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EE249C93-BF6B-4374-B16B-922DDDF44A65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5C9B26B9-C8A8-4F65-9111-5EA5441E1CC4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716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D22E757-EFE7-4496-8FCA-C88C20717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5310" y="0"/>
            <a:ext cx="5885376" cy="4521285"/>
          </a:xfrm>
          <a:custGeom>
            <a:avLst/>
            <a:gdLst>
              <a:gd name="connsiteX0" fmla="*/ 461865 w 5885376"/>
              <a:gd name="connsiteY0" fmla="*/ 0 h 4521285"/>
              <a:gd name="connsiteX1" fmla="*/ 5423511 w 5885376"/>
              <a:gd name="connsiteY1" fmla="*/ 0 h 4521285"/>
              <a:gd name="connsiteX2" fmla="*/ 5530209 w 5885376"/>
              <a:gd name="connsiteY2" fmla="*/ 175643 h 4521285"/>
              <a:gd name="connsiteX3" fmla="*/ 5885376 w 5885376"/>
              <a:gd name="connsiteY3" fmla="*/ 1578398 h 4521285"/>
              <a:gd name="connsiteX4" fmla="*/ 2942688 w 5885376"/>
              <a:gd name="connsiteY4" fmla="*/ 4521285 h 4521285"/>
              <a:gd name="connsiteX5" fmla="*/ 0 w 5885376"/>
              <a:gd name="connsiteY5" fmla="*/ 1578398 h 4521285"/>
              <a:gd name="connsiteX6" fmla="*/ 355167 w 5885376"/>
              <a:gd name="connsiteY6" fmla="*/ 175643 h 452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85376" h="4521285">
                <a:moveTo>
                  <a:pt x="461865" y="0"/>
                </a:moveTo>
                <a:lnTo>
                  <a:pt x="5423511" y="0"/>
                </a:lnTo>
                <a:lnTo>
                  <a:pt x="5530209" y="175643"/>
                </a:lnTo>
                <a:cubicBezTo>
                  <a:pt x="5756715" y="592630"/>
                  <a:pt x="5885376" y="1070488"/>
                  <a:pt x="5885376" y="1578398"/>
                </a:cubicBezTo>
                <a:cubicBezTo>
                  <a:pt x="5885376" y="3203710"/>
                  <a:pt x="4567890" y="4521285"/>
                  <a:pt x="2942688" y="4521285"/>
                </a:cubicBezTo>
                <a:cubicBezTo>
                  <a:pt x="1317486" y="4521285"/>
                  <a:pt x="0" y="3203710"/>
                  <a:pt x="0" y="1578398"/>
                </a:cubicBezTo>
                <a:cubicBezTo>
                  <a:pt x="0" y="1070488"/>
                  <a:pt x="128661" y="592630"/>
                  <a:pt x="355167" y="175643"/>
                </a:cubicBezTo>
                <a:close/>
              </a:path>
            </a:pathLst>
          </a:custGeom>
          <a:solidFill>
            <a:srgbClr val="D9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73AC3B-A4A9-4926-98E2-D54C056F90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4350" y="1270489"/>
            <a:ext cx="6757650" cy="5587512"/>
          </a:xfrm>
          <a:custGeom>
            <a:avLst/>
            <a:gdLst>
              <a:gd name="connsiteX0" fmla="*/ 3737429 w 6757650"/>
              <a:gd name="connsiteY0" fmla="*/ 0 h 5587512"/>
              <a:gd name="connsiteX1" fmla="*/ 6621411 w 6757650"/>
              <a:gd name="connsiteY1" fmla="*/ 1360397 h 5587512"/>
              <a:gd name="connsiteX2" fmla="*/ 6757650 w 6757650"/>
              <a:gd name="connsiteY2" fmla="*/ 1542630 h 5587512"/>
              <a:gd name="connsiteX3" fmla="*/ 6757650 w 6757650"/>
              <a:gd name="connsiteY3" fmla="*/ 5587512 h 5587512"/>
              <a:gd name="connsiteX4" fmla="*/ 491968 w 6757650"/>
              <a:gd name="connsiteY4" fmla="*/ 5587512 h 5587512"/>
              <a:gd name="connsiteX5" fmla="*/ 451088 w 6757650"/>
              <a:gd name="connsiteY5" fmla="*/ 5520206 h 5587512"/>
              <a:gd name="connsiteX6" fmla="*/ 0 w 6757650"/>
              <a:gd name="connsiteY6" fmla="*/ 3738307 h 5587512"/>
              <a:gd name="connsiteX7" fmla="*/ 3737429 w 6757650"/>
              <a:gd name="connsiteY7" fmla="*/ 0 h 5587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7650" h="5587512">
                <a:moveTo>
                  <a:pt x="3737429" y="0"/>
                </a:moveTo>
                <a:cubicBezTo>
                  <a:pt x="4898499" y="0"/>
                  <a:pt x="5935911" y="529568"/>
                  <a:pt x="6621411" y="1360397"/>
                </a:cubicBezTo>
                <a:lnTo>
                  <a:pt x="6757650" y="1542630"/>
                </a:lnTo>
                <a:lnTo>
                  <a:pt x="6757650" y="5587512"/>
                </a:lnTo>
                <a:lnTo>
                  <a:pt x="491968" y="5587512"/>
                </a:lnTo>
                <a:lnTo>
                  <a:pt x="451088" y="5520206"/>
                </a:lnTo>
                <a:cubicBezTo>
                  <a:pt x="163409" y="4990513"/>
                  <a:pt x="0" y="4383498"/>
                  <a:pt x="0" y="3738307"/>
                </a:cubicBezTo>
                <a:cubicBezTo>
                  <a:pt x="0" y="1673697"/>
                  <a:pt x="1673304" y="0"/>
                  <a:pt x="37374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1015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1367221"/>
            <a:ext cx="5614196" cy="969496"/>
          </a:xfrm>
        </p:spPr>
        <p:txBody>
          <a:bodyPr anchor="ctr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2556833"/>
            <a:ext cx="561419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E1BA9-A908-4A48-A0A6-59B33BE169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A1CC3DA1-6E86-4C3A-B22E-95896C5B284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F58B9B1-B8B4-4686-95DA-24EC9795FA3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2F8CF7-A768-4FDA-B0E0-9D9BFBF0536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8EC9EC8E-BBE1-4C9B-B12F-C37E375434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1D75CE87-EA9B-47E7-853C-FAC43232B17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213F449-5667-488C-B67F-599AB7F3199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5" name="addin_image" hidden="1">
            <a:extLst>
              <a:ext uri="{FF2B5EF4-FFF2-40B4-BE49-F238E27FC236}">
                <a16:creationId xmlns:a16="http://schemas.microsoft.com/office/drawing/2014/main" id="{92472BBB-FF87-41B4-95E1-040D828D78AC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383661C9-2C66-475B-9879-DC97191EF57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592BB8D9-3E9A-4A0B-A916-994D294EA77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35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7958934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1695768"/>
            <a:ext cx="698658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6BAA0E-1B86-4920-A1B2-C297FAE1CD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2FBF37D-5623-4C94-95F7-6B688EA5553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D34625E-682F-408E-9E14-44E86352C20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C088646E-0C10-49D0-94E8-3DB163FA2C4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FAED136-CB72-41E9-B69D-5D4265BCF28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030D9758-64E0-4C2C-B06A-CF33C984FB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1E9C160B-0092-42DA-9F24-0CD3E8D3FC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F8B621-0985-46F8-805B-7FF310B15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051" y="2216151"/>
            <a:ext cx="6986849" cy="33337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CA95C51A-6727-CDB3-3387-7D05587A97E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9F29BF6B-4921-D11D-3C33-DEEA1290E43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4163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9BB2EB-AC30-458C-8A51-78396746304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94140" y="3746500"/>
            <a:ext cx="7797860" cy="31115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129452"/>
            <a:ext cx="4077436" cy="2308324"/>
          </a:xfrm>
        </p:spPr>
        <p:txBody>
          <a:bodyPr>
            <a:noAutofit/>
          </a:bodyPr>
          <a:lstStyle>
            <a:lvl1pPr marL="0" indent="0">
              <a:buNone/>
              <a:defRPr sz="15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900" y="4231704"/>
            <a:ext cx="6681674" cy="9685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5900" y="5385925"/>
            <a:ext cx="6681674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D686DF5-6783-49D1-A41E-12D23A566A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59C43119-D1A7-415A-9B56-BB4C24B48D4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B3653F2D-47AC-43E1-A4F9-A6890FE46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6546765-0756-4B17-9E12-187EA7A828E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184A1887-91A2-4FF0-90C1-337F68E109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F5BC4CF7-4561-4A71-AF04-561C00C4AD4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863F087-9D6E-4220-8839-5C80E284A31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84A80EA-372E-4020-AAFF-EA2E11888C8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DE3EFA86-4F0D-4D8F-A8A2-EC95FFEC0C4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966A59AF-76CB-45C6-8F2A-0893437C498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F529BA78-D1F5-4919-AD01-545BC2FBECA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04515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7958934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1695768"/>
            <a:ext cx="698658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6BAA0E-1B86-4920-A1B2-C297FAE1CD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2FBF37D-5623-4C94-95F7-6B688EA5553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D34625E-682F-408E-9E14-44E86352C20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C088646E-0C10-49D0-94E8-3DB163FA2C4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FAED136-CB72-41E9-B69D-5D4265BCF28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030D9758-64E0-4C2C-B06A-CF33C984FB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1E9C160B-0092-42DA-9F24-0CD3E8D3FC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F8B621-0985-46F8-805B-7FF310B15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051" y="2216151"/>
            <a:ext cx="6986849" cy="33337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DC138CE8-79D6-441C-849E-80BC433307B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26BDF151-34FD-4FC7-899F-BEA8015E22E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17765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984" y="1695768"/>
            <a:ext cx="8237830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FE5726C-38E7-483F-A737-043513F3D34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3983" y="2216149"/>
            <a:ext cx="8237830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B8C91D8E-1418-4C4A-B568-87F89624D3C5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CFDB7A6A-7068-4978-8D5B-9719241172B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2657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8256" y="1695768"/>
            <a:ext cx="1055355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F1C9804-CF58-42D2-9F31-B4AF21DCFD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8255" y="2216149"/>
            <a:ext cx="10553558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C0A286F7-69C9-4CA0-8B9F-EC696457B14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5649D692-A18C-497E-BDB6-25C976048D25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19053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4DFAB5E3-9CBE-4BC7-B63B-591246D541D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8237830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831A67B7-1086-448E-8BE3-4D3CAF1D3B54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7513BAF0-EE96-48EE-837B-FF2EBE603D7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8962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sto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10553558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7BFD6647-B7B1-4CF5-8CAA-7238C175204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EB53396A-3648-40BB-BAAD-7E0C1B2438B7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54127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2" y="1695769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innhold 1">
            <a:extLst>
              <a:ext uri="{FF2B5EF4-FFF2-40B4-BE49-F238E27FC236}">
                <a16:creationId xmlns:a16="http://schemas.microsoft.com/office/drawing/2014/main" id="{D75067CC-B9B0-4E2C-A856-0B89673E34E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721755" y="1695768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BC2832A7-0C98-45CC-9D31-C52277112859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524C03FC-BE08-4D3B-BD72-7317638F3073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0115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321DF-3A33-4CC1-B5B4-4FEC55D27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92F2E7-3B07-419D-B3BD-4D2B0A9B9A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2" y="233096"/>
            <a:ext cx="5589587" cy="341313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</a:lstStyle>
          <a:p>
            <a:pPr lvl="0"/>
            <a:r>
              <a:rPr lang="en-US" dirty="0" err="1"/>
              <a:t>Deskriptor</a:t>
            </a:r>
            <a:r>
              <a:rPr lang="en-US" dirty="0"/>
              <a:t> for </a:t>
            </a:r>
            <a:r>
              <a:rPr lang="en-US" dirty="0" err="1"/>
              <a:t>bild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8628ED4-BEC0-4634-8E8D-6E8B1F0192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A078E940-72D0-42A4-93F1-0ED159E95F5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D37F48B1-7ACE-4F4E-8A31-8FF315C54D1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8F4AEB-14D2-4216-AC0E-A75496A332B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C1F6EC1-046D-4D1B-ACDF-11EC0B74914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F98C4818-990B-4A03-A765-145459C6F9E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DF3A714-D07A-4DCB-BE64-85ABAC3DA10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EA4FB2CF-9FF1-4850-8037-423724FE76A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577E44D0-6E18-4464-AA46-505BD8E43B3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3932BAD-EFF5-412E-A960-7D42348E32D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827B480F-028C-41E9-8757-58BEC4D16BC8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5" name="logo_hvit" hidden="1">
            <a:extLst>
              <a:ext uri="{FF2B5EF4-FFF2-40B4-BE49-F238E27FC236}">
                <a16:creationId xmlns:a16="http://schemas.microsoft.com/office/drawing/2014/main" id="{F61D7765-9EAF-47A6-A35D-EF5676B58DA8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3642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6392DCB-D9F5-45C4-91D7-0EC3B95F3B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B83287C-1B6D-42A7-B810-707CF60965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52C60E8-6184-4E09-BFB9-914124AA58A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4F4C1600-3FC9-4DE3-AE62-F70A46786D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4F33EF02-B40B-40D4-BCF1-E6DD8A71FA0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3FDBBF1B-E505-4C56-B7B9-E7A60C1AB33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A57301C-BDC3-4E80-B43E-AD9F9CA9505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D171F4EA-811C-4530-8202-F7F86CC5E3C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BED07210-E86B-4E5E-B346-60D1CAFCC6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DefLogoHvit" hidden="1">
            <a:extLst>
              <a:ext uri="{FF2B5EF4-FFF2-40B4-BE49-F238E27FC236}">
                <a16:creationId xmlns:a16="http://schemas.microsoft.com/office/drawing/2014/main" id="{BC632F05-D42F-449E-9874-9E9ECBD0D89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5EF44-DFF9-4153-9226-166E215234C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8" name="logo_blaa" hidden="1">
            <a:extLst>
              <a:ext uri="{FF2B5EF4-FFF2-40B4-BE49-F238E27FC236}">
                <a16:creationId xmlns:a16="http://schemas.microsoft.com/office/drawing/2014/main" id="{89C234B5-23C9-40CA-B54C-0836C3F85AE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B1EFF8CA-7851-4242-B7B0-507BD5CCEB0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82106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A8A8A2A-6A3B-44AB-8647-260EC7923E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100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100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839F9B-ED44-48F4-B5D6-98DC325BA7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099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099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83962F23-DC89-43FB-BDA5-07A1025AFFF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B94ADC7B-9EF9-40A6-8715-BCB212C43F23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1227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984" y="1695768"/>
            <a:ext cx="8237830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FE5726C-38E7-483F-A737-043513F3D34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3983" y="2216149"/>
            <a:ext cx="8237830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B89F35F9-5073-CCE8-94E4-74634AA24A7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A1A6C58E-6CB5-5E0B-D9E1-E4E96AC384A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68069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, liten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D115F76-499E-4BA8-ACCD-A3E76104C3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8" y="3714716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  <a:solidFill>
            <a:srgbClr val="002776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041E85E-F425-444C-8552-A079AFFD57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9" y="3714715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0D5CC1D4-537A-4B83-8B4F-BE8D452B1492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FA0E660E-8B86-4273-AE81-48F76A18397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23815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B906783-82F7-4F06-A909-92414CF278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372FE5E-CAA5-4EE3-813D-053EE9B99F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E1AB944-55F7-447E-B1B0-7777CEB8144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3C3E6D96-3091-423E-B530-6AA7F835351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865A7262-53CB-411A-B2DD-5D7B0999607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4363F96A-DC31-41C7-A2CA-C1A3F458F8B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CE2A7C8C-4183-49E0-A81F-A87C95D40E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17877C-C149-4333-893F-07266CF802A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139D70A2-5F98-4E2C-B189-EE2B4FDCCAD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D390523-127C-4A96-AEC0-9D4C14B03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3041F739-C6C8-45A7-9C0D-685B68A2F2D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E16B7E-1832-4A1C-881A-B121241BBC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1484AE9F-A7D2-41A0-9E7E-B19529BE3E0D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6291CFDA-4EAB-47E4-92E6-D4F9D56ED5A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96498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Høyre) 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D26DCF0-7676-47A4-8E76-C67AEF8C71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9902AC6-0866-4866-BEB8-3EF36AE083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86E4A578-2604-4EF1-A112-B6EEBB1650D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53BD8B14-1016-4228-ABB8-79ED792B2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9D41E301-6567-4BD4-9BF8-E8D9532FBFF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BE22B59-58E2-4A77-A9D7-CC7F38F62F49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4E36FD8-70FB-44F5-8C26-61B5CE08134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D79908-CF76-4F3E-A9EC-C9C524CEFC5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A2CF66BD-25DA-4FF6-9589-251CB8ECC8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4914B5D-5A23-45A9-B953-59A3D98B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A9A38E28-BCBE-41B5-9F74-A416D15CB715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013F9-6889-481B-A280-1985D2203EE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0BD70129-8506-4BF3-B006-0AA105E8EDCD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7D86DC1C-C7ED-4D26-BD38-A0E65C0075C7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0526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Bak)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EBDE9C1-A6AF-42BB-AD3E-EC5033DF7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881F7AB-121D-483A-BEEB-047633213E2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1F051DA2-02ED-4843-9F7B-A5F1B5FA1D4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37967A0-F11A-4DEB-8752-F51E6C30160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0BCBC18E-CFC3-4CBA-A77B-FCEE20A0D0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DAE9B024-9850-4644-969C-845FA2224C3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4C82FF42-4159-46F4-9A84-97CFCB2094A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A9A00501-7D4B-4A4A-9C7E-528975384D02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7EA08099-CF4B-47D5-AE1A-473F68B466A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logo_blaa" hidden="1">
            <a:extLst>
              <a:ext uri="{FF2B5EF4-FFF2-40B4-BE49-F238E27FC236}">
                <a16:creationId xmlns:a16="http://schemas.microsoft.com/office/drawing/2014/main" id="{1235C88E-30A5-4405-906F-1F566C2A8DA4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1" name="logo_hvit" hidden="1">
            <a:extLst>
              <a:ext uri="{FF2B5EF4-FFF2-40B4-BE49-F238E27FC236}">
                <a16:creationId xmlns:a16="http://schemas.microsoft.com/office/drawing/2014/main" id="{B54D523D-5BCD-4235-9906-8180B451DB3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2973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5AB121-B777-4009-80C1-75B8761B0C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138087C-6F4A-4D28-8FDF-F085F699A2C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6706D5D-D638-4DB1-9AC8-CD8309B275C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06DEFD4A-FB2F-46A7-8EFB-9873F806D4F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5848A094-42A0-4FA4-B133-A3B7A7B39B0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15ECCDD0-B9DF-490B-8070-810E4261072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20FD1917-1441-4832-9EC0-0D1DABCB58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757AAD15-4D1F-4961-B536-5ECA1FDCBEF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9207E573-3D16-4F72-83D9-249A5604221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ACEA8EA1-AF72-4D0C-93FE-35E7C4A712BB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8" name="logo_hvit" hidden="1">
            <a:extLst>
              <a:ext uri="{FF2B5EF4-FFF2-40B4-BE49-F238E27FC236}">
                <a16:creationId xmlns:a16="http://schemas.microsoft.com/office/drawing/2014/main" id="{9416CDB8-A90E-4E1C-8A90-AF9C71C13D1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48425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17378-974D-4128-8D5E-84FC6512327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26380" y="3247853"/>
            <a:ext cx="6865620" cy="3610147"/>
          </a:xfrm>
          <a:prstGeom prst="round1Rect">
            <a:avLst>
              <a:gd name="adj" fmla="val 39195"/>
            </a:avLst>
          </a:prstGeom>
          <a:solidFill>
            <a:srgbClr val="FDF3F2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970" y="4257902"/>
            <a:ext cx="4607604" cy="39405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4B4CF32-5696-483C-9E36-AECAC554D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718968E-017F-4F68-8388-B2E458897E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95677D21-AB8E-4EAE-937F-550723AA605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0DA2D151-1A8B-4DE7-921B-4788399FB6A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3A0026-16AF-4E57-831A-D74BAFCE142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E142F18-FA97-44F7-B279-1943E3BC51B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366C5A4A-E52D-4E55-82D4-F2A3DEF098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C71F8D16-8429-46C8-A55F-53113E72FB3A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D5F194-6865-43D1-A2E9-4920E38BE8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69971" y="4792663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1B1925F0-1DD6-499A-9FF3-BF6D04B6B59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4595CEC7-B6F9-4378-8231-F7A69EA0DD3B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4885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8E7BC67-93D3-4DE1-9069-B45F8FFA378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 hidden="1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419600" y="4651956"/>
            <a:ext cx="7772400" cy="2206044"/>
          </a:xfrm>
          <a:custGeom>
            <a:avLst/>
            <a:gdLst>
              <a:gd name="connsiteX0" fmla="*/ 6126453 w 7772400"/>
              <a:gd name="connsiteY0" fmla="*/ 0 h 2206044"/>
              <a:gd name="connsiteX1" fmla="*/ 0 w 7772400"/>
              <a:gd name="connsiteY1" fmla="*/ 0 h 2206044"/>
              <a:gd name="connsiteX2" fmla="*/ 0 w 7772400"/>
              <a:gd name="connsiteY2" fmla="*/ 2206044 h 2206044"/>
              <a:gd name="connsiteX3" fmla="*/ 7772400 w 7772400"/>
              <a:gd name="connsiteY3" fmla="*/ 2206044 h 2206044"/>
              <a:gd name="connsiteX4" fmla="*/ 7772400 w 7772400"/>
              <a:gd name="connsiteY4" fmla="*/ 1645947 h 2206044"/>
              <a:gd name="connsiteX5" fmla="*/ 6126453 w 7772400"/>
              <a:gd name="connsiteY5" fmla="*/ 0 h 2206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400" h="2206044">
                <a:moveTo>
                  <a:pt x="6126453" y="0"/>
                </a:moveTo>
                <a:lnTo>
                  <a:pt x="0" y="0"/>
                </a:lnTo>
                <a:lnTo>
                  <a:pt x="0" y="2206044"/>
                </a:lnTo>
                <a:lnTo>
                  <a:pt x="7772400" y="2206044"/>
                </a:lnTo>
                <a:lnTo>
                  <a:pt x="7772400" y="1645947"/>
                </a:lnTo>
                <a:cubicBezTo>
                  <a:pt x="7772400" y="736916"/>
                  <a:pt x="7035484" y="0"/>
                  <a:pt x="6126453" y="0"/>
                </a:cubicBezTo>
                <a:close/>
              </a:path>
            </a:pathLst>
          </a:cu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723901"/>
            <a:ext cx="4607762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135E41-F011-45ED-BC06-DEDEFCACBB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C9EA006E-2080-4935-92C8-631EA67245C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3" name="addin_colorbox" hidden="1">
            <a:extLst>
              <a:ext uri="{FF2B5EF4-FFF2-40B4-BE49-F238E27FC236}">
                <a16:creationId xmlns:a16="http://schemas.microsoft.com/office/drawing/2014/main" id="{2FC96FE8-006C-4558-8BA8-53291D4137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4" name="addin_background" hidden="1">
            <a:extLst>
              <a:ext uri="{FF2B5EF4-FFF2-40B4-BE49-F238E27FC236}">
                <a16:creationId xmlns:a16="http://schemas.microsoft.com/office/drawing/2014/main" id="{366A9094-1F57-4D0B-A622-EDA13749F05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5" name="addin_logo" hidden="1">
            <a:extLst>
              <a:ext uri="{FF2B5EF4-FFF2-40B4-BE49-F238E27FC236}">
                <a16:creationId xmlns:a16="http://schemas.microsoft.com/office/drawing/2014/main" id="{34FCEA06-8CAE-4214-8ECB-62EE1CDCC7A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66A5CB83-A611-486A-A11E-524EC248C2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FF933DB9-766C-426B-B11E-45A6BA6095A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 hidden="1">
            <a:extLst>
              <a:ext uri="{FF2B5EF4-FFF2-40B4-BE49-F238E27FC236}">
                <a16:creationId xmlns:a16="http://schemas.microsoft.com/office/drawing/2014/main" id="{4475D5B4-B04D-492A-BF9B-685A53F0430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5913" y="853321"/>
            <a:ext cx="534828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794821EF-9AF2-4167-BA65-8EAF8E8DEA4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5763" y="1196836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CA42C7DF-ED2B-443A-9FB1-BC0F52E371D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76813" y="5544693"/>
            <a:ext cx="7000761" cy="5905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D3345565-E1B3-451F-A229-DB3073F9A8DE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B8D61D3C-0062-47AF-BDA8-938AC2CC346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78618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Høyre og venstre)">
    <p:bg>
      <p:bgPr>
        <a:solidFill>
          <a:srgbClr val="FB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D96C6F-2B95-4858-B2FD-E57FE81F2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6080" y="0"/>
            <a:ext cx="545592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F8DC9D5-24ED-458C-90BB-732F5F9D6B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0"/>
            <a:ext cx="6587243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-1" y="0"/>
            <a:ext cx="658724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730171"/>
            <a:ext cx="6850742" cy="3127829"/>
          </a:xfrm>
          <a:prstGeom prst="round1Rect">
            <a:avLst>
              <a:gd name="adj" fmla="val 44896"/>
            </a:avLst>
          </a:pr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4729846"/>
            <a:ext cx="4891810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736080" y="0"/>
            <a:ext cx="5455919" cy="3730171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44182F-BA54-48B0-B256-4947640EB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addin_colorlist" hidden="1">
            <a:extLst>
              <a:ext uri="{FF2B5EF4-FFF2-40B4-BE49-F238E27FC236}">
                <a16:creationId xmlns:a16="http://schemas.microsoft.com/office/drawing/2014/main" id="{C273E00C-50FC-4C09-837B-667751499D4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2" name="addin_colorbox" hidden="1">
            <a:extLst>
              <a:ext uri="{FF2B5EF4-FFF2-40B4-BE49-F238E27FC236}">
                <a16:creationId xmlns:a16="http://schemas.microsoft.com/office/drawing/2014/main" id="{1136DBA2-434B-4983-86EB-77F8FA3578A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EEA2228F-8BF9-4C93-9035-4B6EF6481C8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addin_logo" hidden="1">
            <a:extLst>
              <a:ext uri="{FF2B5EF4-FFF2-40B4-BE49-F238E27FC236}">
                <a16:creationId xmlns:a16="http://schemas.microsoft.com/office/drawing/2014/main" id="{BF822C3C-A96D-4C31-9A95-60C5B3D4B25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919718A-FF57-49A0-9771-B176C0DE0BB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6" name="addin_text" hidden="1">
            <a:extLst>
              <a:ext uri="{FF2B5EF4-FFF2-40B4-BE49-F238E27FC236}">
                <a16:creationId xmlns:a16="http://schemas.microsoft.com/office/drawing/2014/main" id="{84AA82A5-69A9-42C5-A00A-E051759316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593EE2-8E41-475D-BA91-5A5948E62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85762" y="5202781"/>
            <a:ext cx="4891811" cy="82515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FEA1735A-6F56-42C1-8BB6-9B86D15CCDA0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EFFB01EC-57D1-4D9E-BF81-25187BDF55D4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59130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Venst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0" y="0"/>
            <a:ext cx="7353300" cy="6858000"/>
          </a:xfrm>
          <a:prstGeom prst="round1Rect">
            <a:avLst>
              <a:gd name="adj" fmla="val 38976"/>
            </a:avLst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232150"/>
            <a:ext cx="6850742" cy="3625851"/>
          </a:xfrm>
          <a:prstGeom prst="round1Rect">
            <a:avLst>
              <a:gd name="adj" fmla="val 38591"/>
            </a:avLst>
          </a:prstGeom>
          <a:solidFill>
            <a:srgbClr val="FDF3F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7069" y="2090825"/>
            <a:ext cx="4210504" cy="553998"/>
          </a:xfrm>
        </p:spPr>
        <p:txBody>
          <a:bodyPr anchor="b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67068" y="2766475"/>
            <a:ext cx="4210505" cy="392650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67069" y="4179840"/>
            <a:ext cx="4210505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0E5897B-0128-4833-ABC7-9D5B944D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addin_colorlist" hidden="1">
            <a:extLst>
              <a:ext uri="{FF2B5EF4-FFF2-40B4-BE49-F238E27FC236}">
                <a16:creationId xmlns:a16="http://schemas.microsoft.com/office/drawing/2014/main" id="{7BD4C53C-108D-4394-8456-4042468C0E3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B367CA8A-46EF-4B57-A802-BB29E53CA95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8EC9AE72-4105-48A6-A086-47AFE82C935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2F1AA884-7DE6-4EAE-BF6F-1767EE3A5B0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B8B387BA-8B81-4475-9FC8-702C90AFA83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D9145AC7-3FAF-40CE-9C66-69B589F567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818D3C5-E00B-4293-821C-798C4F134E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67025" y="4614675"/>
            <a:ext cx="4210549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EB0BFF17-9837-4315-B821-4F0D3494FFD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9F417608-4C91-4D58-B010-FD6C797444B3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53473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3 boks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13DEE0-CCAF-47EA-A14D-D76793842F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49008" y="-8758"/>
            <a:ext cx="3949700" cy="6866758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16FC5DA-8226-4CF8-B228-E01FC1487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39200" y="349009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51F98C5-2BE5-42D7-BB2F-61E1BA87BF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9200" y="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5F59F70E-C806-43BD-9D89-C54E8C3B0DB3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39200" y="3498849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749800" y="-2"/>
            <a:ext cx="3949700" cy="685799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394970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910471"/>
            <a:ext cx="3949701" cy="55399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839200" y="0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4D51EAA-A93B-4020-8227-613B86276B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919271A-D69E-44B1-9601-857C23308C2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524CAE9B-B20C-4A8D-934B-59339B019D1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AC83C4E6-04D0-4072-8F3C-7976CB3356C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6A95789E-F5A3-4946-AB59-D1C0D4FF1F3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3D365EEB-3C51-4BE4-88F0-1FC8A2B887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0B668723-1F65-41E9-8B0D-4C408D3AF15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DefLogoHvit" hidden="1">
            <a:extLst>
              <a:ext uri="{FF2B5EF4-FFF2-40B4-BE49-F238E27FC236}">
                <a16:creationId xmlns:a16="http://schemas.microsoft.com/office/drawing/2014/main" id="{1B4E343D-3448-4288-96A0-8161A1BCA02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549804D6-DBC7-4F01-9B86-DCB54C291E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2121720"/>
            <a:ext cx="3949700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AFA6B2BC-21E6-4B4F-AB1E-DE60915BD3E8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6CB909B9-7735-4EF0-8430-0FB9F51741F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8530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8256" y="1695768"/>
            <a:ext cx="1055355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F1C9804-CF58-42D2-9F31-B4AF21DCFD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8255" y="2216149"/>
            <a:ext cx="10553558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05CC1E52-B98B-D98C-E51E-9E8A15C7C85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09EFC85A-A6EC-2122-E69B-0A25E17F541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3973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innhold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BFA32DA-0415-49CF-BCF9-38F570B362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25597" y="0"/>
            <a:ext cx="4266403" cy="686675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925597" y="1"/>
            <a:ext cx="4259939" cy="6857999"/>
          </a:xfrm>
          <a:prstGeom prst="rect">
            <a:avLst/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6163919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D2C0544-2BE4-48B0-9C84-7496C2E325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35BFD6A-9EBA-437D-94D3-A22AE9F3BF6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E9F07D1-9FDA-4010-B64C-C1629BFE350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0B018755-7928-4745-9B40-F3496CA5DF1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633A8CE6-D1F0-4276-AE71-8C8663E262E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FDD8280D-ED4A-4383-944E-05E4FE2BF96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94003EC-43C4-4410-B11C-73FEE191870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3341E66A-52C3-4488-998F-D252AB6C05B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BAA402BF-A073-4F44-B5BE-D9D57BDB227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199256" y="1698171"/>
            <a:ext cx="4259939" cy="383902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F3501955-8E52-4576-98E9-4C77AACFF99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11899C4A-6B3D-4B96-9BED-40F4D1116B77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92394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87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40B92AA-42BC-432B-8FCD-86D6CFD8E5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363977-D9F6-454E-A94B-C68902B958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8220" y="2476500"/>
            <a:ext cx="3978593" cy="355507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A81454-9B8B-4525-959D-5534FBD4C3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F7888C7-E2BB-4F37-9548-732E47B2D66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0D07F82-624B-4368-B875-4A5180E2445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C608B2B-F460-4524-A128-B881BF70A79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61C83988-EF2B-4F8A-A221-FBA24707F9C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7B8B98E-1475-4FEF-A304-E855B226301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07811DB8-614D-4E24-9368-EBE38BEF6B9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3A47E8CE-2C1D-4AD7-95B9-E7E0918EBD5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A0396D79-3FF9-408B-A32B-11B761A425A0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453C9593-0BEF-4A60-AEDF-FF99AEAB5AB8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73681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6" y="2157469"/>
            <a:ext cx="5560333" cy="1938992"/>
          </a:xfrm>
        </p:spPr>
        <p:txBody>
          <a:bodyPr anchor="b">
            <a:noAutofit/>
          </a:bodyPr>
          <a:lstStyle>
            <a:lvl1pPr algn="ctr">
              <a:lnSpc>
                <a:spcPct val="90000"/>
              </a:lnSpc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“</a:t>
            </a:r>
            <a:r>
              <a:rPr lang="en-US" dirty="0" err="1"/>
              <a:t>Sitat</a:t>
            </a:r>
            <a:r>
              <a:rPr lang="en-US" dirty="0"/>
              <a:t>”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2E9EA-50DA-4C6F-BDBD-45D2CC16F5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7" y="4498845"/>
            <a:ext cx="5560332" cy="215444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93E590-141F-4D3A-BAE4-F780C71B13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359BBBD-8D4D-47A6-A6D2-15A5C12B778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91BDE199-DCB0-44B7-B468-DB0113CDAAD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C20023-01D6-43AC-AC9E-3D5BBB97537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9037258-551C-4040-900F-0E68A78A12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61EAB1CA-B254-4FF7-9B06-83529538730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978D642-AF95-46D9-BDA8-AC5CCCB3ED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E1023C14-08D5-4A55-A00C-020E6A8C9E4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F063C56A-0094-4DA2-B2C6-68E9333EC736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2E1DDFEC-D5B3-4F72-A116-8FB13AC9AF00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54010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84523D-32B3-42D2-9506-B4449EF176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15913" y="1460500"/>
            <a:ext cx="6719887" cy="4784725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9981B97-0927-4AE0-B50C-C8C76D99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4499" y="2152968"/>
            <a:ext cx="3912283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94E24CE-73E5-478C-A0AE-B3FF6F4E4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531F68E2-5378-49F8-9089-CF82D4C5C37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A3B53C9F-AC67-475F-A1A3-7F754C8F112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42717750-4B12-4D91-8622-DC0D4272850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CBF86961-0370-4940-A239-56F95E63CBD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0AE0909F-FA8A-42B2-A5EA-7A13B05B37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9400D268-CC84-41FD-B9A3-9510D85E407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0E2F7EB6-BD9A-4CAB-81C5-FA6F6D8726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499" y="2673350"/>
            <a:ext cx="3912283" cy="327546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E4657100-CDCA-4C13-AC25-EC6D4DC2801F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D6267B03-F613-4CD3-9511-5FF9ADB294E9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20946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715658" y="1036637"/>
            <a:ext cx="826112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5EA8AB-6B52-4A25-8679-9037A006B2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C43F1F1-08A8-45E6-8709-A6CF646C389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29DE899F-C243-4AB6-84E9-84DD211AA6D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FD84D5B2-05C4-4708-B0E6-8816C134C1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BC7B844F-3B22-4BC5-AE8F-529F6F8103B2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91826AB-F933-47F3-A50A-E1A9C8C299C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882AA710-D5DF-4B9E-B682-8BC67348AB3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27B46D2-22EB-487B-863E-8C88301E9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5" y="1191898"/>
            <a:ext cx="2822753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94A18F01-C33A-4993-990D-6612F99D8D09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8" name="logo_hvit" hidden="1">
            <a:extLst>
              <a:ext uri="{FF2B5EF4-FFF2-40B4-BE49-F238E27FC236}">
                <a16:creationId xmlns:a16="http://schemas.microsoft.com/office/drawing/2014/main" id="{D3420A41-B05C-43BE-8B18-033B543692A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680029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2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33B6724-4542-4E0D-A677-8E0AEC06B5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999124DB-8F02-409F-A729-E11030C3457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CD623913-286B-465D-A7E5-0DF3533D4623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CD92FFB2-664D-487F-A82D-D46DC13C7D0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BE133F-DD99-468C-8D55-748939F0F9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AAE24BC9-EA40-4A42-B35A-A5F8924D3B2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2A25BEF6-DC40-4AF2-B91B-D50EB057310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71BDB52-B689-490F-A912-7D7E708067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477AC26E-8080-48CE-8B24-035706FFCFD2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2DBD25E3-ADA8-4185-863A-35376C4C12EA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71630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4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5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8" name="Chart Placeholder 5">
            <a:extLst>
              <a:ext uri="{FF2B5EF4-FFF2-40B4-BE49-F238E27FC236}">
                <a16:creationId xmlns:a16="http://schemas.microsoft.com/office/drawing/2014/main" id="{67E0BF1E-FA82-4B7F-B923-BFDB61725C32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8126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CA985493-FA53-488E-8517-92FC07AF2B01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841829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22E512-6705-4C14-9589-C2DACC2CD1B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126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5F680-AEB8-4E1E-9514-7E53E03994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1829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FA83E3-5DF6-44FC-9818-DBD9AC138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addin_colorlist" hidden="1">
            <a:extLst>
              <a:ext uri="{FF2B5EF4-FFF2-40B4-BE49-F238E27FC236}">
                <a16:creationId xmlns:a16="http://schemas.microsoft.com/office/drawing/2014/main" id="{026061BC-914B-4BA8-A2C4-CC0745516D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7639C6D-46FA-4FA7-8EC0-21DEE11DB27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background" hidden="1">
            <a:extLst>
              <a:ext uri="{FF2B5EF4-FFF2-40B4-BE49-F238E27FC236}">
                <a16:creationId xmlns:a16="http://schemas.microsoft.com/office/drawing/2014/main" id="{71D860E0-3EB4-4985-8611-DBB86048C27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040054D-988B-4548-8071-431E56D48E1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3988038F-D2A8-423E-9DE1-C599EB065BA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7291C49E-6F93-4D1D-98F0-6D074E39ECF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F7D3B47-0043-4A21-A582-E9A771DC0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D0119907-5675-4824-8F51-DF319995A3F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9" name="logo_hvit" hidden="1">
            <a:extLst>
              <a:ext uri="{FF2B5EF4-FFF2-40B4-BE49-F238E27FC236}">
                <a16:creationId xmlns:a16="http://schemas.microsoft.com/office/drawing/2014/main" id="{C0CC544A-E9C9-4E58-8B44-F64C57F8389C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8830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vikling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3134" y="2359798"/>
            <a:ext cx="4533908" cy="235449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17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/>
              <a:t>00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4012ADA4-FF9C-4A9A-9D47-9F7DF4E17A6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07042" y="2359797"/>
            <a:ext cx="3978593" cy="18499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z="1600"/>
              <a:t>Klikk for å redigere tekststiler i male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FCD7BF-3AB7-4429-8BC8-F8BC42C2A5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95E40C5A-6129-49F4-B4D2-D18CFE88C1D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6831A200-49F5-4645-BB55-B21422B4DD4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29F23ED3-8031-44D0-AF88-1C89758EB5A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696CEC71-F65A-43A1-962D-596ECDCFEFF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9D9EC0F-9854-4585-BE93-674C85878F1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72B513AD-BD82-49A5-8EDC-A9F4BDC63D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0BB6941E-7A67-4E07-AB3F-FA53A5938919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394AED7E-F499-431A-B41F-EF05BADEBF2B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A95A402B-D254-4CAA-9B5A-B69AA534E01D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93028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53E799FF-A7CB-461E-B019-32619A79E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9780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9780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6A5C2C-D005-4D6A-B53B-999FAD2B2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97807" y="2254021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8192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8192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44BEA80-896A-4A78-A6E8-C08CC90D84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1927" y="2254021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12058" y="4315621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12058" y="3889692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C51C625-F779-4CC0-B43C-69D91D5B9F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12058" y="2249259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54053" y="4325288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4053" y="3899359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4A5529C-9EF2-4C35-9351-C26E0DDC60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4053" y="2258926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49780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KON SETTES INN HER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98192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154053" y="2258926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12058" y="2249259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D004951B-E132-4CB5-BE08-014909997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6E501A22-635E-4E52-A781-CEFE3AAF9E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5" name="addin_colorbox" hidden="1">
            <a:extLst>
              <a:ext uri="{FF2B5EF4-FFF2-40B4-BE49-F238E27FC236}">
                <a16:creationId xmlns:a16="http://schemas.microsoft.com/office/drawing/2014/main" id="{C152D6E7-5ABD-462F-B484-D3C5A98E30C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6" name="addin_background" hidden="1">
            <a:extLst>
              <a:ext uri="{FF2B5EF4-FFF2-40B4-BE49-F238E27FC236}">
                <a16:creationId xmlns:a16="http://schemas.microsoft.com/office/drawing/2014/main" id="{E380263D-5A13-44BA-8F84-CE8D468BF3F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7" name="addin_logo" hidden="1">
            <a:extLst>
              <a:ext uri="{FF2B5EF4-FFF2-40B4-BE49-F238E27FC236}">
                <a16:creationId xmlns:a16="http://schemas.microsoft.com/office/drawing/2014/main" id="{A47615AF-2F92-48F5-9427-DB7CDFC14D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8" name="addin_title" hidden="1">
            <a:extLst>
              <a:ext uri="{FF2B5EF4-FFF2-40B4-BE49-F238E27FC236}">
                <a16:creationId xmlns:a16="http://schemas.microsoft.com/office/drawing/2014/main" id="{DE8F631C-E719-4912-BF9F-B8C23CA2B3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9" name="addin_text" hidden="1">
            <a:extLst>
              <a:ext uri="{FF2B5EF4-FFF2-40B4-BE49-F238E27FC236}">
                <a16:creationId xmlns:a16="http://schemas.microsoft.com/office/drawing/2014/main" id="{7FC205FB-165B-4339-88D1-EF192C650B2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736E1821-2120-48ED-8BF3-416C35744F98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69DB9100-B340-43B6-B5BA-267B7A0CA02D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23600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73BE435-F82E-401E-BC8F-786DF65E16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42257" y="2161952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875DC22-FC29-439F-BE1C-C4CEEE74EF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0495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59238488-45B2-4EF9-9DCF-75A9D082AC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367444" y="2161952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12A2793-E8C0-4A44-AD6E-511C67CD47B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80970" y="2161952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EC5F670-0FCC-48B7-9C97-8A0ED134BF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92632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8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8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0495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0495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7444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7444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80970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80970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542257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450495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280970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367444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3F540DE3-195D-4E6B-A7AF-31B5DF60F73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192632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F891B1A-3BF6-4C12-A12A-239C8FCE033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192632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D5D28B2-0704-4803-A645-557CB31EE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92632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0EFE922-5D7E-4DE7-BDD3-B34758502B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8" name="addin_colorlist" hidden="1">
            <a:extLst>
              <a:ext uri="{FF2B5EF4-FFF2-40B4-BE49-F238E27FC236}">
                <a16:creationId xmlns:a16="http://schemas.microsoft.com/office/drawing/2014/main" id="{075E0F79-D570-480C-8DF3-E58C21E1F6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9" name="addin_colorbox" hidden="1">
            <a:extLst>
              <a:ext uri="{FF2B5EF4-FFF2-40B4-BE49-F238E27FC236}">
                <a16:creationId xmlns:a16="http://schemas.microsoft.com/office/drawing/2014/main" id="{67B923A1-1928-48F4-99F0-2BC992E26D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0" name="addin_background" hidden="1">
            <a:extLst>
              <a:ext uri="{FF2B5EF4-FFF2-40B4-BE49-F238E27FC236}">
                <a16:creationId xmlns:a16="http://schemas.microsoft.com/office/drawing/2014/main" id="{C8275DA9-4738-44F4-80E0-B95FD7F7669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1" name="addin_logo" hidden="1">
            <a:extLst>
              <a:ext uri="{FF2B5EF4-FFF2-40B4-BE49-F238E27FC236}">
                <a16:creationId xmlns:a16="http://schemas.microsoft.com/office/drawing/2014/main" id="{50E7F9FC-E5AD-43C9-9814-D45E18A0765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2" name="addin_title" hidden="1">
            <a:extLst>
              <a:ext uri="{FF2B5EF4-FFF2-40B4-BE49-F238E27FC236}">
                <a16:creationId xmlns:a16="http://schemas.microsoft.com/office/drawing/2014/main" id="{4E85F3F3-61FE-46B8-9DCC-8DF708F7EF3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43" name="addin_text" hidden="1">
            <a:extLst>
              <a:ext uri="{FF2B5EF4-FFF2-40B4-BE49-F238E27FC236}">
                <a16:creationId xmlns:a16="http://schemas.microsoft.com/office/drawing/2014/main" id="{CCB6333A-8809-4730-B12B-15E8A5FE96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BAFE1A1C-0521-4A68-8F3B-77D05A6048D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77BB0F64-6E73-44E4-9A86-D3439F940538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0904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4DFAB5E3-9CBE-4BC7-B63B-591246D541D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8237830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57F5F5EE-735C-21EB-B0AC-340341BFF41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5EA39D16-521C-36DD-C6D4-2E1059ECA094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65975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(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7C3D8B82-1186-4182-B0A5-AF811E03AAA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0279050-A64A-4B83-A905-1B3FC387D1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8625" y="1771827"/>
            <a:ext cx="895350" cy="872978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0D0A5540-DE13-4650-A761-05A3821451B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913F1418-8863-4CCE-A609-28E1F569F71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4062DE1-5A03-401B-828E-C09837CBE7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39050" y="0"/>
            <a:ext cx="4552950" cy="6858000"/>
          </a:xfrm>
          <a:solidFill>
            <a:srgbClr val="005AA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657939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7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7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657939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FDEC93C-B0F9-43F6-9A2B-43486128B15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13982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D64AEBB-F5C6-49BB-A8BD-743146A4CB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13982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52CFF93E-569D-485C-9953-C19AC5E3C45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542257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A6D454-40E4-4EA2-B644-EDCFBBCB62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42257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1A3C0572-03EF-4F24-A0B1-253B71A2C1F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13982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4A24DB8-42A3-44EC-A86F-652A8538749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13982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A96C8D-EA7E-4A1A-9503-66E8E35B8CE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369300" y="1098550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DC22F2-8CFA-49E4-A541-56C2672DA8B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69300" y="1605457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25147704-1371-462B-8BE0-901BF4C6B9A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369300" y="2882345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CCA3D76-ECCA-4308-8AF0-909FC8B26F8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369300" y="3389252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60A7792F-9090-4A87-8964-DF22B9449CE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69300" y="4922063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A80D731A-25DF-478D-9DD2-54A9511D84F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369300" y="5428970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D6001A3-F024-4A8E-B5CF-D1D78B3F4E4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FB244F5A-705A-48E8-927E-F279AC5F5FEC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866900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3A7F4820-EF59-4DD5-A97C-2CBCBA008F35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238625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98FC926-9B84-46D8-89CC-E751E9D26A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EE315A61-2E68-4EB9-B2F9-BDF0F31BDE53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866900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FAD39D5-056D-4EB9-8E8D-ACED66A3A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5" name="Content Placeholder 8">
            <a:extLst>
              <a:ext uri="{FF2B5EF4-FFF2-40B4-BE49-F238E27FC236}">
                <a16:creationId xmlns:a16="http://schemas.microsoft.com/office/drawing/2014/main" id="{769CDA1B-0410-4357-A97C-A7947A450081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4238625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1910E6F-A89F-470C-B8C5-2CA101D8EC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2" name="addin_colorlist" hidden="1">
            <a:extLst>
              <a:ext uri="{FF2B5EF4-FFF2-40B4-BE49-F238E27FC236}">
                <a16:creationId xmlns:a16="http://schemas.microsoft.com/office/drawing/2014/main" id="{2530AF2D-9963-4853-BC15-8D5711DC97A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45" name="addin_colorbox" hidden="1">
            <a:extLst>
              <a:ext uri="{FF2B5EF4-FFF2-40B4-BE49-F238E27FC236}">
                <a16:creationId xmlns:a16="http://schemas.microsoft.com/office/drawing/2014/main" id="{4647CBF0-028B-48BC-8377-8664458D9C7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6" name="addin_background" hidden="1">
            <a:extLst>
              <a:ext uri="{FF2B5EF4-FFF2-40B4-BE49-F238E27FC236}">
                <a16:creationId xmlns:a16="http://schemas.microsoft.com/office/drawing/2014/main" id="{A4BBCABF-1EAD-4EE4-9436-DCF1D62455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6" name="addin_logo" hidden="1">
            <a:extLst>
              <a:ext uri="{FF2B5EF4-FFF2-40B4-BE49-F238E27FC236}">
                <a16:creationId xmlns:a16="http://schemas.microsoft.com/office/drawing/2014/main" id="{53D5C84E-F74F-4DE1-B8BD-09B906AD98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57" name="addin_title" hidden="1">
            <a:extLst>
              <a:ext uri="{FF2B5EF4-FFF2-40B4-BE49-F238E27FC236}">
                <a16:creationId xmlns:a16="http://schemas.microsoft.com/office/drawing/2014/main" id="{6A4887B0-59E8-4459-A232-FBE56D3489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58" name="addin_text" hidden="1">
            <a:extLst>
              <a:ext uri="{FF2B5EF4-FFF2-40B4-BE49-F238E27FC236}">
                <a16:creationId xmlns:a16="http://schemas.microsoft.com/office/drawing/2014/main" id="{DFF3A27C-DEC0-4C13-A024-9CDA6FA62D2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59" name="DefLogoHvit" hidden="1">
            <a:extLst>
              <a:ext uri="{FF2B5EF4-FFF2-40B4-BE49-F238E27FC236}">
                <a16:creationId xmlns:a16="http://schemas.microsoft.com/office/drawing/2014/main" id="{E242F738-11B7-4699-ADA7-AD2F8082B21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995E30AB-B684-49FE-AF36-03E8E3FF6055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938CAF34-BD44-4F21-845B-9FC7C8B252DC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4740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09692" y="1238672"/>
            <a:ext cx="5242508" cy="5242256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242492" y="566738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spcBef>
                <a:spcPts val="1800"/>
              </a:spcBef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C83D3ED5-C123-48D8-BF8E-0476E8596C82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02A992B5-F485-45DA-B617-5194C3E6D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28E5F674-4C79-44C3-8673-EC472B0189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FF9BE07-6D50-4E95-ABFB-67A93A07F5A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42044" y="5886736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3199" y="391996"/>
            <a:ext cx="3269209" cy="642320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E91E3A3D-8D2C-4873-A73B-85EF666519F9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EA6D6426-6EFC-446B-AC08-7E26A258B55E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764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Neste sid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1667" y="609539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2374" y="434797"/>
            <a:ext cx="3269209" cy="642320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DA2EDFEE-A606-400C-BA08-036FC2EA105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F6AAD60C-7E9D-4505-975D-8C6C00C76F07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1CBBAF8A-F859-4061-8BD1-F2A07DBEABA6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949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22" name="Circle 2">
            <a:extLst>
              <a:ext uri="{FF2B5EF4-FFF2-40B4-BE49-F238E27FC236}">
                <a16:creationId xmlns:a16="http://schemas.microsoft.com/office/drawing/2014/main" id="{643EB9AF-85D6-452D-8D92-900AFF59F2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5075" y="1303425"/>
            <a:ext cx="5019194" cy="5019194"/>
          </a:xfrm>
          <a:prstGeom prst="rect">
            <a:avLst/>
          </a:prstGeom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1557912" y="3841396"/>
            <a:ext cx="4211870" cy="237681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D2883-1DBB-4A89-BE2A-3AB6A6803E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6677" y="3408539"/>
            <a:ext cx="4968936" cy="409006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27992AFA-D68E-40D7-87D9-86BD816FECE3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823D5C2E-971C-4F12-A4AF-FFB184D13360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6055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8" dur="20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B0CE27-C394-4607-98BB-7BA11CE74F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095499">
            <a:off x="7470934" y="2251972"/>
            <a:ext cx="2477110" cy="5326551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20087460">
            <a:off x="7250598" y="2087988"/>
            <a:ext cx="2902052" cy="563668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Picture Placeholder 31">
            <a:extLst>
              <a:ext uri="{FF2B5EF4-FFF2-40B4-BE49-F238E27FC236}">
                <a16:creationId xmlns:a16="http://schemas.microsoft.com/office/drawing/2014/main" id="{81C825AF-C1C5-44BB-9F0A-1E28516D9E1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 rot="20095499">
            <a:off x="11413087" y="3189250"/>
            <a:ext cx="2480710" cy="532137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6" name="Text Placeholder 64">
            <a:extLst>
              <a:ext uri="{FF2B5EF4-FFF2-40B4-BE49-F238E27FC236}">
                <a16:creationId xmlns:a16="http://schemas.microsoft.com/office/drawing/2014/main" id="{8001664F-BDA3-427D-9F79-FBB525E0DF0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20087460">
            <a:off x="11194429" y="3019296"/>
            <a:ext cx="2902052" cy="563668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9E04B0B-6D10-4EC9-BB96-507F599A1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1735008" cy="396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C4C0F59E-815A-49A1-9BBD-B7CC950E4BA9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BF3DC9F2-1BC9-4852-8D2F-8BE2948CF4EC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153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-0.0625 -0.238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8" dur="2000" fill="hold"/>
                                        <p:tgtEl>
                                          <p:spTgt spid="6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0" dur="20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7.40741E-7 L -0.0625 -0.2388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4" dur="2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8" dur="2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65" grpId="0" uiExpand="1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8" grpId="0"/>
      <p:bldP spid="26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click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4A80CED5-AB6B-4994-B3E6-B97FBE16A8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EDD01A2-4366-4D2C-A0E7-B1B95B71D0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4477" y="1750446"/>
            <a:ext cx="5995752" cy="493526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Picture Placeholder 31">
            <a:extLst>
              <a:ext uri="{FF2B5EF4-FFF2-40B4-BE49-F238E27FC236}">
                <a16:creationId xmlns:a16="http://schemas.microsoft.com/office/drawing/2014/main" id="{26E0B4AE-3913-4C0F-A569-2625D1C2CE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7230274" y="2275124"/>
            <a:ext cx="5097572" cy="288216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7622D3-E2C3-498F-9799-B2CB374E63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25569" y="5636682"/>
            <a:ext cx="3947160" cy="646518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CB4E4-C2B8-4505-B3B2-E7A16D1D597F}"/>
              </a:ext>
            </a:extLst>
          </p:cNvPr>
          <p:cNvSpPr txBox="1"/>
          <p:nvPr userDrawn="1"/>
        </p:nvSpPr>
        <p:spPr>
          <a:xfrm>
            <a:off x="6821714" y="244565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B9D396-4FA5-4E05-AA33-A3B2F34FDFD0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5075B-279A-49F7-9EF7-C440206021BF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69F34-0256-46BB-95B6-72F3160484E5}"/>
              </a:ext>
            </a:extLst>
          </p:cNvPr>
          <p:cNvSpPr txBox="1"/>
          <p:nvPr userDrawn="1"/>
        </p:nvSpPr>
        <p:spPr>
          <a:xfrm>
            <a:off x="5054535" y="-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5798462A-FDC9-4067-81E1-BA3C406CDC5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984D0382-8680-4AC5-A1F3-BCC57D08DFDA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0C8EAEF1-2D65-45EE-A92F-3C2232FC3E05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043" y="5886736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72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6" dur="2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8" dur="2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-0.03437 -0.1416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-70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789 0.17593 L 4.58333E-6 -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4" y="-905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383 0.10393 L 0.24388 0.2006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3" y="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4" grpId="0"/>
      <p:bldP spid="3" grpId="0" uiExpand="1" build="p" animBg="1">
        <p:tmplLst>
          <p:tmpl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08789 0.17593 L 4.58333E-6 -1.48148E-6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4284" y="-9051"/>
                    </p:animMotion>
                  </p:childTnLst>
                </p:cTn>
              </p:par>
            </p:tnLst>
          </p:tmpl>
          <p:tmpl lvl="1"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7383 0.10393 L 0.24388 0.20069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503" y="4838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3D015-6959-4408-9BF2-878E984CDA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7625" y="0"/>
            <a:ext cx="7064375" cy="6858000"/>
          </a:xfrm>
          <a:solidFill>
            <a:srgbClr val="00103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92E13-E931-494C-96DF-4A2421B6F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81497" y="4038600"/>
            <a:ext cx="7810497" cy="2819400"/>
          </a:xfrm>
          <a:custGeom>
            <a:avLst/>
            <a:gdLst>
              <a:gd name="connsiteX0" fmla="*/ 6007097 w 7810497"/>
              <a:gd name="connsiteY0" fmla="*/ 0 h 2819400"/>
              <a:gd name="connsiteX1" fmla="*/ 0 w 7810497"/>
              <a:gd name="connsiteY1" fmla="*/ 0 h 2819400"/>
              <a:gd name="connsiteX2" fmla="*/ 0 w 7810497"/>
              <a:gd name="connsiteY2" fmla="*/ 2819400 h 2819400"/>
              <a:gd name="connsiteX3" fmla="*/ 7810497 w 7810497"/>
              <a:gd name="connsiteY3" fmla="*/ 2819400 h 2819400"/>
              <a:gd name="connsiteX4" fmla="*/ 7810497 w 7810497"/>
              <a:gd name="connsiteY4" fmla="*/ 1803400 h 2819400"/>
              <a:gd name="connsiteX5" fmla="*/ 6007097 w 7810497"/>
              <a:gd name="connsiteY5" fmla="*/ 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10497" h="2819400">
                <a:moveTo>
                  <a:pt x="6007097" y="0"/>
                </a:moveTo>
                <a:lnTo>
                  <a:pt x="0" y="0"/>
                </a:lnTo>
                <a:lnTo>
                  <a:pt x="0" y="2819400"/>
                </a:lnTo>
                <a:lnTo>
                  <a:pt x="7810497" y="2819400"/>
                </a:lnTo>
                <a:lnTo>
                  <a:pt x="7810497" y="1803400"/>
                </a:lnTo>
                <a:cubicBezTo>
                  <a:pt x="7810497" y="807410"/>
                  <a:pt x="7003087" y="0"/>
                  <a:pt x="6007097" y="0"/>
                </a:cubicBezTo>
                <a:close/>
              </a:path>
            </a:pathLst>
          </a:custGeom>
          <a:solidFill>
            <a:srgbClr val="C3C2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ACC01-A937-4271-A7CA-BDC2D6D394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264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264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828245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82903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7A88A4F-5ACA-4E7F-97B6-8D5BFDDB03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2480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199A3D1D-B068-40B9-94DE-750DA43F6A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2480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F12E05B-349E-468D-89CE-BFB1E0530A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28236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8ED6D48-CFEA-4D2F-80DC-CBDA51FDD9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28236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91AA2C9-234E-4CCE-ABF3-86C69A1A9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24" y="2249281"/>
            <a:ext cx="3438925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300">
                <a:solidFill>
                  <a:srgbClr val="00207D"/>
                </a:solidFill>
              </a:defRPr>
            </a:lvl2pPr>
            <a:lvl3pPr>
              <a:defRPr sz="1200">
                <a:solidFill>
                  <a:srgbClr val="00207D"/>
                </a:solidFill>
              </a:defRPr>
            </a:lvl3pPr>
            <a:lvl4pPr>
              <a:defRPr sz="1100">
                <a:solidFill>
                  <a:srgbClr val="00207D"/>
                </a:solidFill>
              </a:defRPr>
            </a:lvl4pPr>
            <a:lvl5pPr>
              <a:defRPr sz="10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465B5-E891-45FD-B2CD-F7832BDB64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B652CA5B-091A-4E89-9203-486E5C39F48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A2D3D61E-049A-48E0-9986-95DEF9C8F2B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122DD4A3-2094-47A6-87DB-03D72FCE8FB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9" name="addin_logo" hidden="1">
            <a:extLst>
              <a:ext uri="{FF2B5EF4-FFF2-40B4-BE49-F238E27FC236}">
                <a16:creationId xmlns:a16="http://schemas.microsoft.com/office/drawing/2014/main" id="{F2DDBE38-7E8E-4049-B6C7-D0729F6C696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title" hidden="1">
            <a:extLst>
              <a:ext uri="{FF2B5EF4-FFF2-40B4-BE49-F238E27FC236}">
                <a16:creationId xmlns:a16="http://schemas.microsoft.com/office/drawing/2014/main" id="{87107F74-6EEF-4C55-B579-31D86AEE85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1" name="addin_text" hidden="1">
            <a:extLst>
              <a:ext uri="{FF2B5EF4-FFF2-40B4-BE49-F238E27FC236}">
                <a16:creationId xmlns:a16="http://schemas.microsoft.com/office/drawing/2014/main" id="{1CC0094A-8549-4644-B35B-BC8DAAA1AAB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A4670E69-80B5-4E22-8585-40E8404B9485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535E41EB-764A-462B-9C63-7AA81FAEEF81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57485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)">
    <p:bg>
      <p:bgPr>
        <a:solidFill>
          <a:srgbClr val="CECE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C455073B-9561-4C18-AE0B-2DBE98389C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96000" y="1720850"/>
            <a:ext cx="6096000" cy="5137150"/>
          </a:xfr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AEB2CF0-BD35-47EE-A838-C4F6293D9F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7429500" y="-1333500"/>
            <a:ext cx="3429000" cy="6096000"/>
          </a:xfrm>
          <a:prstGeom prst="round1Rect">
            <a:avLst>
              <a:gd name="adj" fmla="val 38889"/>
            </a:avLst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3429000"/>
            <a:ext cx="6096000" cy="3429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30D4A27-CB15-4024-A7B2-B0A0FBB527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6096000" cy="3429000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1600" y="3772800"/>
            <a:ext cx="556597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  <a:solidFill>
            <a:srgbClr val="0000FE">
              <a:alpha val="0"/>
            </a:srgbClr>
          </a:solidFill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253810" cy="430887"/>
          </a:xfrm>
          <a:solidFill>
            <a:srgbClr val="0000FE">
              <a:alpha val="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3579248" y="1073070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D8D130-C5B1-450A-822A-5F08E950A7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9600" y="1846800"/>
            <a:ext cx="2713758" cy="1241425"/>
          </a:xfrm>
        </p:spPr>
        <p:txBody>
          <a:bodyPr/>
          <a:lstStyle>
            <a:lvl1pPr marL="0" indent="0">
              <a:buNone/>
              <a:defRPr sz="10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3772800"/>
            <a:ext cx="4660900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5B7438E-AE75-4FF7-BC5E-B7C2C0CE59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A4BDD34D-E03D-4646-867F-0721BEFA75DC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1, firefarg2</a:t>
            </a:r>
          </a:p>
        </p:txBody>
      </p:sp>
      <p:sp>
        <p:nvSpPr>
          <p:cNvPr id="29" name="addin_colorbox" hidden="1">
            <a:extLst>
              <a:ext uri="{FF2B5EF4-FFF2-40B4-BE49-F238E27FC236}">
                <a16:creationId xmlns:a16="http://schemas.microsoft.com/office/drawing/2014/main" id="{9E04BAB5-E565-4580-A95D-A8DBBBA206C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0" name="addin_background" hidden="1">
            <a:extLst>
              <a:ext uri="{FF2B5EF4-FFF2-40B4-BE49-F238E27FC236}">
                <a16:creationId xmlns:a16="http://schemas.microsoft.com/office/drawing/2014/main" id="{20312245-3B2C-45E0-A41F-9880DECB8AA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1" name="addin_logo" hidden="1">
            <a:extLst>
              <a:ext uri="{FF2B5EF4-FFF2-40B4-BE49-F238E27FC236}">
                <a16:creationId xmlns:a16="http://schemas.microsoft.com/office/drawing/2014/main" id="{0555D013-45BB-4434-BCD4-CA50C4FDF50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title" hidden="1">
            <a:extLst>
              <a:ext uri="{FF2B5EF4-FFF2-40B4-BE49-F238E27FC236}">
                <a16:creationId xmlns:a16="http://schemas.microsoft.com/office/drawing/2014/main" id="{3293E258-4BAB-4E3E-B382-2BF51368333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3" name="addin_text" hidden="1">
            <a:extLst>
              <a:ext uri="{FF2B5EF4-FFF2-40B4-BE49-F238E27FC236}">
                <a16:creationId xmlns:a16="http://schemas.microsoft.com/office/drawing/2014/main" id="{F306448A-BC82-40F1-B842-B6DB578BF4F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4" name="addin_spestext" hidden="1">
            <a:extLst>
              <a:ext uri="{FF2B5EF4-FFF2-40B4-BE49-F238E27FC236}">
                <a16:creationId xmlns:a16="http://schemas.microsoft.com/office/drawing/2014/main" id="{28414EB4-7508-47EB-8178-87FDD9A0F47B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E3844F34-BF24-4DE8-8F36-35D26CD26D68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CBF3C7C-55B9-484F-8323-BAF8BDA704CE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06FD54A-FD2A-49F0-83FB-443C74F64F15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8FD9630B-D6BC-493A-BBE8-569F372E8290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31A0D69A-9581-4EBF-B323-5DB0479996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4194000"/>
            <a:ext cx="4660899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EC8A8337-24E7-481A-8588-D5597050FC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11600" y="4194000"/>
            <a:ext cx="5565974" cy="78556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5F335A74-0045-4431-93C5-38BA94BA92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291600" y="910800"/>
            <a:ext cx="2685974" cy="48487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91A19E68-7550-4699-BF8C-73BB3FB9CA73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BBDA1B5D-21E3-44DB-8419-A89BE8C7DA93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71363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, 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2F04CD96-D11A-4B44-912B-ADD88AA349C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0108" y="2411834"/>
            <a:ext cx="4077730" cy="4446166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700E0BD-BA45-4A7E-A9CC-E715CDB8E7C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7730" y="0"/>
            <a:ext cx="4036542" cy="431616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4400294" y="3144021"/>
            <a:ext cx="3397251" cy="4030705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60C567-3FD3-4899-98EB-BA303D6775D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422761" y="-308490"/>
            <a:ext cx="3460748" cy="4077730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CECDE7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0"/>
            <a:ext cx="4083566" cy="6858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06959" y="4114895"/>
            <a:ext cx="3080679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9182117" y="4069602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1228528"/>
            <a:ext cx="3253812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7576959-282F-48A7-93E6-CDC621CBB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72509" y="167205"/>
            <a:ext cx="350506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77FC5C6-3FFB-4293-812F-50F87293B3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DE7A0B9B-A159-4769-AA7E-43F8A26DEAA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3, firefarg4</a:t>
            </a:r>
          </a:p>
        </p:txBody>
      </p:sp>
      <p:sp>
        <p:nvSpPr>
          <p:cNvPr id="28" name="addin_colorbox" hidden="1">
            <a:extLst>
              <a:ext uri="{FF2B5EF4-FFF2-40B4-BE49-F238E27FC236}">
                <a16:creationId xmlns:a16="http://schemas.microsoft.com/office/drawing/2014/main" id="{A723CA78-23AE-48CA-B30D-BC65F7A9A3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background" hidden="1">
            <a:extLst>
              <a:ext uri="{FF2B5EF4-FFF2-40B4-BE49-F238E27FC236}">
                <a16:creationId xmlns:a16="http://schemas.microsoft.com/office/drawing/2014/main" id="{FDB0DF5E-1B59-4D22-8E8C-0E8E2795D31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CC87C9FE-39EB-4A6D-868B-7B8E1B4B3B1C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title" hidden="1">
            <a:extLst>
              <a:ext uri="{FF2B5EF4-FFF2-40B4-BE49-F238E27FC236}">
                <a16:creationId xmlns:a16="http://schemas.microsoft.com/office/drawing/2014/main" id="{2147B6EF-8E5B-42EE-B44C-8A50E0911D9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4" name="addin_text" hidden="1">
            <a:extLst>
              <a:ext uri="{FF2B5EF4-FFF2-40B4-BE49-F238E27FC236}">
                <a16:creationId xmlns:a16="http://schemas.microsoft.com/office/drawing/2014/main" id="{F117A96B-03C2-43F0-BDD8-8161858E432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6" name="addin_image" hidden="1">
            <a:extLst>
              <a:ext uri="{FF2B5EF4-FFF2-40B4-BE49-F238E27FC236}">
                <a16:creationId xmlns:a16="http://schemas.microsoft.com/office/drawing/2014/main" id="{870B3DFC-356E-466E-A04C-39E936E6E326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D39FA83-C4E7-4637-ABFB-525099A04B9B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A7530B15-9197-446D-BAD0-B354241C94F9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12CFCD8F-01FE-4654-871C-7FF1504A9466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73D33CA6-FE73-4DD0-A18B-77AA905F72DD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2CE2E79D-4BE6-4DCF-BE36-0B43C13C47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1695722"/>
            <a:ext cx="3253811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8AE6BBE8-A093-48FC-8519-587B0A829E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472510" y="603919"/>
            <a:ext cx="3505064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CD107A-6138-4458-8580-DDA462984F8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06960" y="4551609"/>
            <a:ext cx="3080680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DBF42D59-F0A5-42D6-BB8C-BABFC34A97EB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711E2053-6372-41BC-88BA-F5A961C78CF7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024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5270105" y="-63898"/>
            <a:ext cx="4292600" cy="9551195"/>
          </a:xfrm>
          <a:prstGeom prst="round1Rect">
            <a:avLst>
              <a:gd name="adj" fmla="val 43590"/>
            </a:avLst>
          </a:pr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73029" y="634781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73029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328" y="407521"/>
            <a:ext cx="6746085" cy="1284754"/>
          </a:xfrm>
        </p:spPr>
        <p:txBody>
          <a:bodyPr anchor="ctr"/>
          <a:lstStyle>
            <a:lvl1pPr>
              <a:lnSpc>
                <a:spcPct val="90000"/>
              </a:lnSpc>
              <a:defRPr sz="10000"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68846015-2A3B-446D-A0B8-D29C61C01F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63755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B9BD4B98-07E6-4F80-AF51-2316CD968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3755" y="6347818"/>
            <a:ext cx="1846659" cy="15388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9BF6C8A6-65BE-42D3-BEB6-7005D686B5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0800000">
            <a:off x="7561943" y="0"/>
            <a:ext cx="4630057" cy="6858001"/>
          </a:xfrm>
          <a:prstGeom prst="round1Rect">
            <a:avLst>
              <a:gd name="adj" fmla="val 47979"/>
            </a:avLst>
          </a:prstGeom>
          <a:solidFill>
            <a:srgbClr val="00579E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6F1FE8-28E4-4C92-9D93-7B8DCD67097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1BD38ED4-B725-4AAB-9487-255EBB7049C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ste1, siste2, siste3, siste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6F4D908F-B453-4F18-BE82-ACB5B2DA82B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FC09F4C-2DCB-4C69-9F83-FBEF8B9EA1E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052BDCAC-5BC9-42C5-8C89-4398E2F45DA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305CCF73-19C7-4C9B-893D-1D0A7E0B1B9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03A08D40-C143-4FDB-834C-4EDCBBAB098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spestext" hidden="1">
            <a:extLst>
              <a:ext uri="{FF2B5EF4-FFF2-40B4-BE49-F238E27FC236}">
                <a16:creationId xmlns:a16="http://schemas.microsoft.com/office/drawing/2014/main" id="{282BCBC8-4FEA-4F9A-A003-2C640A6FBC6E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7286-2074-4AB7-850D-1D7DDD1937D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8608" y="6115219"/>
            <a:ext cx="1640683" cy="46166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z="1000" dirty="0">
                <a:solidFill>
                  <a:srgbClr val="00207D"/>
                </a:solidFill>
              </a:rPr>
              <a:t>Sparebank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Facebook.com/sb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@sb1ostlandet</a:t>
            </a:r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2DB8AE09-CD4A-45F7-950C-8FF439D201A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9B0A0F92-CFD1-43FB-A904-EDDF73757281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4EFA5080-DA3E-48F3-AE4E-6B8A5FFBE591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3579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sto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10553558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40383463-27AC-390C-DBE1-AB332895A0A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09E2DDAB-39B1-43FE-902D-ABAD58C2FDAE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73638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D75FC5D-6F55-45E1-BA2B-4AD0149F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B5EFC96-E4EE-4FE8-B92E-AF05CED0CD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93031825-807F-472B-AF88-ED6DD1CD310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4F1E6E-F1BA-4219-A7A6-F50B1C2A1EE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DC5899DE-05C4-455E-9646-5E8813CF710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2" name="addin_logo" hidden="1">
            <a:extLst>
              <a:ext uri="{FF2B5EF4-FFF2-40B4-BE49-F238E27FC236}">
                <a16:creationId xmlns:a16="http://schemas.microsoft.com/office/drawing/2014/main" id="{BACC81DC-258C-49C1-8853-1FE54172C6A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087211ED-582A-466E-942B-54ECB00D05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81C5F396-DEF8-49C6-8C44-EC521A266BB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BB78D4CA-637C-4477-BB8E-A7ECD33F38D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6D0BF25A-5A8D-48DE-AE1A-E9F9953D6C93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4282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33626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10B15B95-7E4F-49BD-86F8-CD48FDE599A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7" name="addin_colorbox" hidden="1">
            <a:extLst>
              <a:ext uri="{FF2B5EF4-FFF2-40B4-BE49-F238E27FC236}">
                <a16:creationId xmlns:a16="http://schemas.microsoft.com/office/drawing/2014/main" id="{60F511CE-520D-4D58-978B-A742962CBB1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8309DFEF-9575-4318-B437-CBFF2E4AF83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67036A9A-33C9-40AC-910B-E05856E9B2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09D6E0DE-92FA-4CF9-95A6-8B562FF54A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CFE1FC6-4BD8-45F8-B934-22BCC395D00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6A144EF-35F3-4471-82EB-B8135768E0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41092" y="6245941"/>
            <a:ext cx="1735008" cy="39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E7F2D84C-0E2C-4F1C-9709-B4BB4BB2F15A}"/>
              </a:ext>
            </a:extLst>
          </p:cNvPr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15" name="logo_hvit" hidden="1">
            <a:extLst>
              <a:ext uri="{FF2B5EF4-FFF2-40B4-BE49-F238E27FC236}">
                <a16:creationId xmlns:a16="http://schemas.microsoft.com/office/drawing/2014/main" id="{04F5BBD6-E79D-4AD6-829F-CAAA97E4570D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37373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Levende bakgrunn 1" descr="Levende bakgrunn 1">
            <a:hlinkClick r:id="" action="ppaction://media"/>
            <a:extLst>
              <a:ext uri="{FF2B5EF4-FFF2-40B4-BE49-F238E27FC236}">
                <a16:creationId xmlns:a16="http://schemas.microsoft.com/office/drawing/2014/main" id="{902AFA99-DB3C-4EA2-8EB5-150A887A50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BDB705D4-301E-4A9A-B0CA-85132C564A97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logo_blaa" hidden="1">
            <a:extLst>
              <a:ext uri="{FF2B5EF4-FFF2-40B4-BE49-F238E27FC236}">
                <a16:creationId xmlns:a16="http://schemas.microsoft.com/office/drawing/2014/main" id="{0FE8DC82-6011-4958-B6CB-A0BE1CFE4ACC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5" name="logo_hvit" hidden="1">
            <a:extLst>
              <a:ext uri="{FF2B5EF4-FFF2-40B4-BE49-F238E27FC236}">
                <a16:creationId xmlns:a16="http://schemas.microsoft.com/office/drawing/2014/main" id="{43F7EF5B-B69B-41A2-A31F-705DF0DB6F5D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245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37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</p:childTnLst>
        </p:cTn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Levende bakgrunn 3_loop" descr="Levende bakgrunn 3_loop">
            <a:hlinkClick r:id="" action="ppaction://media"/>
            <a:extLst>
              <a:ext uri="{FF2B5EF4-FFF2-40B4-BE49-F238E27FC236}">
                <a16:creationId xmlns:a16="http://schemas.microsoft.com/office/drawing/2014/main" id="{172DB947-6D78-4E6D-8CC2-57FA8919CB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4" name="logo_blaa" hidden="1">
            <a:extLst>
              <a:ext uri="{FF2B5EF4-FFF2-40B4-BE49-F238E27FC236}">
                <a16:creationId xmlns:a16="http://schemas.microsoft.com/office/drawing/2014/main" id="{E7D17E2D-0C32-46E3-BE67-9E3CED751C95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6" name="logo_hvit" hidden="1">
            <a:extLst>
              <a:ext uri="{FF2B5EF4-FFF2-40B4-BE49-F238E27FC236}">
                <a16:creationId xmlns:a16="http://schemas.microsoft.com/office/drawing/2014/main" id="{1E6A3838-E812-4BBA-8FFB-4E87543C5B4A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00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042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Én klar tale_Small">
            <a:hlinkClick r:id="" action="ppaction://media"/>
            <a:extLst>
              <a:ext uri="{FF2B5EF4-FFF2-40B4-BE49-F238E27FC236}">
                <a16:creationId xmlns:a16="http://schemas.microsoft.com/office/drawing/2014/main" id="{C4E7F5B9-7211-4D5E-9660-E42C89413EB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8D4C2EBB-45AF-4766-8D7E-D81BA0935EC0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AD5E3D0F-6A6C-467F-BA0B-70E56F684E00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69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4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Skape rom_Small">
            <a:hlinkClick r:id="" action="ppaction://media"/>
            <a:extLst>
              <a:ext uri="{FF2B5EF4-FFF2-40B4-BE49-F238E27FC236}">
                <a16:creationId xmlns:a16="http://schemas.microsoft.com/office/drawing/2014/main" id="{3334B1F6-4488-4769-89A9-8DE1F485628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80888" cy="6858000"/>
          </a:xfrm>
          <a:prstGeom prst="rect">
            <a:avLst/>
          </a:prstGeom>
        </p:spPr>
      </p:pic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74AEBFF3-0793-43A1-AF6C-4EA1536F3923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D5AA2469-90AD-446D-B017-307C6BA8E6D8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63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41092" y="6245941"/>
            <a:ext cx="1735008" cy="396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Sammen">
            <a:hlinkClick r:id="" action="ppaction://media"/>
            <a:extLst>
              <a:ext uri="{FF2B5EF4-FFF2-40B4-BE49-F238E27FC236}">
                <a16:creationId xmlns:a16="http://schemas.microsoft.com/office/drawing/2014/main" id="{E615C148-FB3A-4F63-88D8-B13C677070D5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logo_blaa" hidden="1">
            <a:extLst>
              <a:ext uri="{FF2B5EF4-FFF2-40B4-BE49-F238E27FC236}">
                <a16:creationId xmlns:a16="http://schemas.microsoft.com/office/drawing/2014/main" id="{E15FE12C-CBF4-4406-8774-563D33B787C9}"/>
              </a:ext>
            </a:extLst>
          </p:cNvPr>
          <p:cNvPicPr>
            <a:picLocks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  <p:pic>
        <p:nvPicPr>
          <p:cNvPr id="7" name="logo_hvit" hidden="1">
            <a:extLst>
              <a:ext uri="{FF2B5EF4-FFF2-40B4-BE49-F238E27FC236}">
                <a16:creationId xmlns:a16="http://schemas.microsoft.com/office/drawing/2014/main" id="{2650781B-C9B5-4B87-B7F4-CFB74E8CBCED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1092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120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96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015E39-59DC-48A0-9676-AD2CAF5CD29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9112441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3FEEEEE4-28A3-428A-29F1-3923A1C2583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B5F45B85-020E-017F-5125-BA901601C63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9804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2" y="1695769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innhold 1">
            <a:extLst>
              <a:ext uri="{FF2B5EF4-FFF2-40B4-BE49-F238E27FC236}">
                <a16:creationId xmlns:a16="http://schemas.microsoft.com/office/drawing/2014/main" id="{D75067CC-B9B0-4E2C-A856-0B89673E34E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721755" y="1695768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B720A578-D46F-357F-D928-4BBBA7324B0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DB98371D-0417-8D27-D8B3-6DC41565EE0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34694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 forside uten bil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ihåndsform: figur 34">
            <a:extLst>
              <a:ext uri="{FF2B5EF4-FFF2-40B4-BE49-F238E27FC236}">
                <a16:creationId xmlns:a16="http://schemas.microsoft.com/office/drawing/2014/main" id="{FEC2C7E8-2BAA-4586-B492-F62F07C9E11E}"/>
              </a:ext>
            </a:extLst>
          </p:cNvPr>
          <p:cNvSpPr/>
          <p:nvPr userDrawn="1"/>
        </p:nvSpPr>
        <p:spPr>
          <a:xfrm>
            <a:off x="8643130" y="4478410"/>
            <a:ext cx="3548870" cy="2379590"/>
          </a:xfrm>
          <a:custGeom>
            <a:avLst/>
            <a:gdLst>
              <a:gd name="connsiteX0" fmla="*/ 3548870 w 3548870"/>
              <a:gd name="connsiteY0" fmla="*/ 0 h 2379590"/>
              <a:gd name="connsiteX1" fmla="*/ 3548870 w 3548870"/>
              <a:gd name="connsiteY1" fmla="*/ 2379590 h 2379590"/>
              <a:gd name="connsiteX2" fmla="*/ 0 w 3548870"/>
              <a:gd name="connsiteY2" fmla="*/ 2379590 h 2379590"/>
              <a:gd name="connsiteX3" fmla="*/ 72242 w 3548870"/>
              <a:gd name="connsiteY3" fmla="*/ 2218043 h 2379590"/>
              <a:gd name="connsiteX4" fmla="*/ 3364761 w 3548870"/>
              <a:gd name="connsiteY4" fmla="*/ 4706 h 2379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8870" h="2379590">
                <a:moveTo>
                  <a:pt x="3548870" y="0"/>
                </a:moveTo>
                <a:lnTo>
                  <a:pt x="3548870" y="2379590"/>
                </a:lnTo>
                <a:lnTo>
                  <a:pt x="0" y="2379590"/>
                </a:lnTo>
                <a:lnTo>
                  <a:pt x="72242" y="2218043"/>
                </a:lnTo>
                <a:cubicBezTo>
                  <a:pt x="670673" y="962488"/>
                  <a:pt x="1912166" y="79145"/>
                  <a:pt x="3364761" y="47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AC732900-C482-4FED-BE14-15E1B9D9A0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7094193" cy="5000626"/>
          </a:xfrm>
          <a:custGeom>
            <a:avLst/>
            <a:gdLst>
              <a:gd name="connsiteX0" fmla="*/ 0 w 7094193"/>
              <a:gd name="connsiteY0" fmla="*/ 0 h 5000626"/>
              <a:gd name="connsiteX1" fmla="*/ 7094193 w 7094193"/>
              <a:gd name="connsiteY1" fmla="*/ 0 h 5000626"/>
              <a:gd name="connsiteX2" fmla="*/ 7085079 w 7094193"/>
              <a:gd name="connsiteY2" fmla="*/ 52590 h 5000626"/>
              <a:gd name="connsiteX3" fmla="*/ 1193800 w 7094193"/>
              <a:gd name="connsiteY3" fmla="*/ 5000626 h 5000626"/>
              <a:gd name="connsiteX4" fmla="*/ 278011 w 7094193"/>
              <a:gd name="connsiteY4" fmla="*/ 4929224 h 5000626"/>
              <a:gd name="connsiteX5" fmla="*/ 0 w 7094193"/>
              <a:gd name="connsiteY5" fmla="*/ 4878061 h 5000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94193" h="5000626">
                <a:moveTo>
                  <a:pt x="0" y="0"/>
                </a:moveTo>
                <a:lnTo>
                  <a:pt x="7094193" y="0"/>
                </a:lnTo>
                <a:lnTo>
                  <a:pt x="7085079" y="52590"/>
                </a:lnTo>
                <a:cubicBezTo>
                  <a:pt x="6524347" y="2876429"/>
                  <a:pt x="4099795" y="5000626"/>
                  <a:pt x="1193800" y="5000626"/>
                </a:cubicBezTo>
                <a:cubicBezTo>
                  <a:pt x="882444" y="5000626"/>
                  <a:pt x="576614" y="4976241"/>
                  <a:pt x="278011" y="4929224"/>
                </a:cubicBezTo>
                <a:lnTo>
                  <a:pt x="0" y="487806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Ellipse 26" hidden="1">
            <a:extLst>
              <a:ext uri="{FF2B5EF4-FFF2-40B4-BE49-F238E27FC236}">
                <a16:creationId xmlns:a16="http://schemas.microsoft.com/office/drawing/2014/main" id="{C58EF7F7-76C4-4C70-91FC-28F032BC9284}"/>
              </a:ext>
            </a:extLst>
          </p:cNvPr>
          <p:cNvSpPr/>
          <p:nvPr userDrawn="1"/>
        </p:nvSpPr>
        <p:spPr>
          <a:xfrm>
            <a:off x="-4819651" y="-7393244"/>
            <a:ext cx="12026901" cy="12393870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Ellipse 6" hidden="1">
            <a:extLst>
              <a:ext uri="{FF2B5EF4-FFF2-40B4-BE49-F238E27FC236}">
                <a16:creationId xmlns:a16="http://schemas.microsoft.com/office/drawing/2014/main" id="{E7AB5697-707D-455B-8619-528309D6ACBF}"/>
              </a:ext>
            </a:extLst>
          </p:cNvPr>
          <p:cNvSpPr/>
          <p:nvPr userDrawn="1"/>
        </p:nvSpPr>
        <p:spPr>
          <a:xfrm>
            <a:off x="8333366" y="4478020"/>
            <a:ext cx="7747747" cy="7832637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2115B0B2-46A2-AFE3-B823-D7E4B301C034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9" name="logo_hvit" hidden="1">
            <a:extLst>
              <a:ext uri="{FF2B5EF4-FFF2-40B4-BE49-F238E27FC236}">
                <a16:creationId xmlns:a16="http://schemas.microsoft.com/office/drawing/2014/main" id="{76E1BB52-4B84-627F-F892-875E3502B2D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87492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59095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6" y="4019550"/>
            <a:ext cx="5559095" cy="170815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9863" y="0"/>
            <a:ext cx="5672137" cy="6858000"/>
          </a:xfrm>
          <a:solidFill>
            <a:schemeClr val="accen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5B07D191-5165-41F0-9CA0-2D9A13FDE7A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48B445A7-2708-42E6-87CD-7BBE618FCB9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7AC23A7A-D883-4E96-90A1-C32758913D6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873DE8BD-C805-4280-9DAE-151FB5B3C74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B412EC9B-5739-4D54-AD85-89BAAB9B5DD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DC8B4B2D-F48D-4D80-9952-A71F5977CA9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4C581-6E50-4372-88CE-BC943FC4A2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3A06D244-5520-41C4-B5E5-C0A0DF4B407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404A2A7E-79DA-4E12-8A5E-415AF8F61F7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76E1069F-FBCE-C231-B363-EAADB1DD1FE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277C50C2-68FF-933B-6366-9CF0029A881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457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, sirkel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B580BDA-A445-4961-A52C-2EBE49B4CC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6888" y="0"/>
            <a:ext cx="6245112" cy="5842000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B592A463-4603-A9A2-A8EC-1C1D199C2C3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695D0AF9-E4B5-5487-B7CB-68F880921EF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6407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4DA4748-4F43-4F1B-AAEB-2ED411E5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C94E69BD-0A56-40F8-B68A-E3D823537E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D1EDA5DC-474F-4369-8152-D656FEB6ADA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15396179-4FC6-46C7-82A4-0F380217A02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5048B53-A7C6-4F18-96FB-30937FDBA63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5FF0EACC-C50A-44B5-8C4D-444ED159113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CFE3393-AB3C-44EB-AFC3-F01B9D65C2D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49EF98D6-91C4-4ED8-AF8C-C1F414AB396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7" name="logo_blaa" hidden="1">
            <a:extLst>
              <a:ext uri="{FF2B5EF4-FFF2-40B4-BE49-F238E27FC236}">
                <a16:creationId xmlns:a16="http://schemas.microsoft.com/office/drawing/2014/main" id="{BA4B48E7-481C-7AF3-0F38-8D1D39074E2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5213B60A-FEBE-24F7-7B76-94AD84A8274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0040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52763ED-CF70-4772-BB44-DC41205ED8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5" y="2288796"/>
            <a:ext cx="5560333" cy="1938992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6" y="4338863"/>
            <a:ext cx="5560332" cy="1708150"/>
          </a:xfrm>
        </p:spPr>
        <p:txBody>
          <a:bodyPr anchor="t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8EE8199-86B9-4779-8FFF-E942D0D919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C1C65D8-3327-4A0F-A16F-F092745C825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E8AD148F-21A9-43AC-99D2-45BA43F665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418948F-C32B-4E23-AD6D-7451FE13932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9579EA3C-8EEC-474C-B378-87DCAEEDEED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170DAD57-37FB-44B9-AB07-2453F6D0428D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2128C84B-197A-4C62-8A3B-2AD4F5CFE1C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640345A6-8FBC-47B0-B8DD-333C5CBE232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86C38409-3847-62E9-604E-F6B43BD90C1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8B86D5CD-26CB-818D-4C1C-6B740263D79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53825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2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DDD0D1-7607-4D30-B017-29557565B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24148" y="0"/>
            <a:ext cx="9467852" cy="5341258"/>
          </a:xfrm>
          <a:custGeom>
            <a:avLst/>
            <a:gdLst>
              <a:gd name="connsiteX0" fmla="*/ 13212 w 9467852"/>
              <a:gd name="connsiteY0" fmla="*/ 0 h 5341258"/>
              <a:gd name="connsiteX1" fmla="*/ 9467852 w 9467852"/>
              <a:gd name="connsiteY1" fmla="*/ 0 h 5341258"/>
              <a:gd name="connsiteX2" fmla="*/ 9467852 w 9467852"/>
              <a:gd name="connsiteY2" fmla="*/ 2559831 h 5341258"/>
              <a:gd name="connsiteX3" fmla="*/ 9387475 w 9467852"/>
              <a:gd name="connsiteY3" fmla="*/ 2726709 h 5341258"/>
              <a:gd name="connsiteX4" fmla="*/ 4995184 w 9467852"/>
              <a:gd name="connsiteY4" fmla="*/ 5341258 h 5341258"/>
              <a:gd name="connsiteX5" fmla="*/ 0 w 9467852"/>
              <a:gd name="connsiteY5" fmla="*/ 345373 h 5341258"/>
              <a:gd name="connsiteX6" fmla="*/ 6500 w 9467852"/>
              <a:gd name="connsiteY6" fmla="*/ 88286 h 534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7852" h="5341258">
                <a:moveTo>
                  <a:pt x="13212" y="0"/>
                </a:moveTo>
                <a:lnTo>
                  <a:pt x="9467852" y="0"/>
                </a:lnTo>
                <a:lnTo>
                  <a:pt x="9467852" y="2559831"/>
                </a:lnTo>
                <a:lnTo>
                  <a:pt x="9387475" y="2726709"/>
                </a:lnTo>
                <a:cubicBezTo>
                  <a:pt x="8541594" y="4284052"/>
                  <a:pt x="6891833" y="5341258"/>
                  <a:pt x="4995184" y="5341258"/>
                </a:cubicBezTo>
                <a:cubicBezTo>
                  <a:pt x="2236421" y="5341258"/>
                  <a:pt x="0" y="3104524"/>
                  <a:pt x="0" y="345373"/>
                </a:cubicBezTo>
                <a:cubicBezTo>
                  <a:pt x="0" y="259150"/>
                  <a:pt x="2184" y="173436"/>
                  <a:pt x="6500" y="8828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54327" y="50800"/>
            <a:ext cx="6837674" cy="6807200"/>
          </a:xfrm>
          <a:custGeom>
            <a:avLst/>
            <a:gdLst>
              <a:gd name="connsiteX0" fmla="*/ 6805412 w 6837674"/>
              <a:gd name="connsiteY0" fmla="*/ 0 h 6807200"/>
              <a:gd name="connsiteX1" fmla="*/ 6837674 w 6837674"/>
              <a:gd name="connsiteY1" fmla="*/ 822 h 6807200"/>
              <a:gd name="connsiteX2" fmla="*/ 6837674 w 6837674"/>
              <a:gd name="connsiteY2" fmla="*/ 6807200 h 6807200"/>
              <a:gd name="connsiteX3" fmla="*/ 0 w 6837674"/>
              <a:gd name="connsiteY3" fmla="*/ 6807200 h 6807200"/>
              <a:gd name="connsiteX4" fmla="*/ 7582 w 6837674"/>
              <a:gd name="connsiteY4" fmla="*/ 6505088 h 6807200"/>
              <a:gd name="connsiteX5" fmla="*/ 6805412 w 6837674"/>
              <a:gd name="connsiteY5" fmla="*/ 0 h 680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7674" h="6807200">
                <a:moveTo>
                  <a:pt x="6805412" y="0"/>
                </a:moveTo>
                <a:lnTo>
                  <a:pt x="6837674" y="822"/>
                </a:lnTo>
                <a:lnTo>
                  <a:pt x="6837674" y="6807200"/>
                </a:lnTo>
                <a:lnTo>
                  <a:pt x="0" y="6807200"/>
                </a:lnTo>
                <a:lnTo>
                  <a:pt x="7582" y="6505088"/>
                </a:lnTo>
                <a:cubicBezTo>
                  <a:pt x="189887" y="2881528"/>
                  <a:pt x="3163658" y="0"/>
                  <a:pt x="6805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821C79A-09F0-415C-ABA8-F68C1FBFB8B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68399" y="2474118"/>
            <a:ext cx="2082800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9E87C030-834C-4DD1-ACF4-9E176AA7FB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5" y="2474118"/>
            <a:ext cx="308763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1A815E2-8392-4901-B494-FC72347B46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D4BFF5A0-D5F1-466F-8F8F-752A0CF7B9F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2703FF8-08E6-435B-BC69-B46322B3C88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86BCDAB5-94E1-4029-873A-6AAA0DF90F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420A2D1-A6FA-4817-8190-221B5B1AC7F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39DA551-001F-4769-BA32-95ED85E0D8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DA1777B3-13AE-4111-8C56-F4E837BF47B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F74E35BB-3239-4B07-AEB8-6D0E5BDC129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3C4D318A-EC61-2F8E-73BD-20E27C20AB6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711ACF64-D3CB-1759-0EBB-F46CA02C70D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99105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Bullets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F05E5-4985-4C05-9562-7EDA2EA06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9635" y="2474119"/>
            <a:ext cx="4283866" cy="2398823"/>
          </a:xfrm>
          <a:prstGeom prst="rect">
            <a:avLst/>
          </a:prstGeom>
        </p:spPr>
        <p:txBody>
          <a:bodyPr lIns="0" tIns="0" rIns="0" bIns="0"/>
          <a:lstStyle>
            <a:lvl1pPr marL="2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7452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3pPr>
            <a:lvl4pPr marL="163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4pPr>
            <a:lvl5pPr marL="20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D9509D-1F87-4CAD-BC94-A4964D7947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74D0B008-DE7E-47CB-875B-CF47AB39A06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1BD67AD2-2095-475B-A5AD-628752A6DD2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7E11CD56-B9C0-419B-8A36-BB48536752F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0093EA9-B48E-408D-BF34-563BEACBA4D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C32B9E1F-DA12-4F53-805F-DC377D7702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D6980C80-9C4B-40C0-9EBB-CAF66C85577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18C0116C-C2F0-4272-B65F-C60714918693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B7BC6600-B857-4DD2-B7C9-0E004A6DAE2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AE965EA6-C018-4CBB-68E4-32BCD4BEC26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37BA5587-331D-08D3-EFEE-EB080A27B52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90899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DE15B9-BBD7-42A7-B667-4AABA4393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6118" y="0"/>
            <a:ext cx="6908798" cy="3589020"/>
          </a:xfrm>
          <a:custGeom>
            <a:avLst/>
            <a:gdLst>
              <a:gd name="connsiteX0" fmla="*/ 53674 w 6908798"/>
              <a:gd name="connsiteY0" fmla="*/ 0 h 3589020"/>
              <a:gd name="connsiteX1" fmla="*/ 6855124 w 6908798"/>
              <a:gd name="connsiteY1" fmla="*/ 0 h 3589020"/>
              <a:gd name="connsiteX2" fmla="*/ 6890963 w 6908798"/>
              <a:gd name="connsiteY2" fmla="*/ 208491 h 3589020"/>
              <a:gd name="connsiteX3" fmla="*/ 6908798 w 6908798"/>
              <a:gd name="connsiteY3" fmla="*/ 522069 h 3589020"/>
              <a:gd name="connsiteX4" fmla="*/ 3454399 w 6908798"/>
              <a:gd name="connsiteY4" fmla="*/ 3589020 h 3589020"/>
              <a:gd name="connsiteX5" fmla="*/ 0 w 6908798"/>
              <a:gd name="connsiteY5" fmla="*/ 522069 h 3589020"/>
              <a:gd name="connsiteX6" fmla="*/ 17835 w 6908798"/>
              <a:gd name="connsiteY6" fmla="*/ 208491 h 358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8798" h="3589020">
                <a:moveTo>
                  <a:pt x="53674" y="0"/>
                </a:moveTo>
                <a:lnTo>
                  <a:pt x="6855124" y="0"/>
                </a:lnTo>
                <a:lnTo>
                  <a:pt x="6890963" y="208491"/>
                </a:lnTo>
                <a:cubicBezTo>
                  <a:pt x="6902757" y="311593"/>
                  <a:pt x="6908798" y="416205"/>
                  <a:pt x="6908798" y="522069"/>
                </a:cubicBezTo>
                <a:cubicBezTo>
                  <a:pt x="6908798" y="2215899"/>
                  <a:pt x="5362211" y="3589020"/>
                  <a:pt x="3454399" y="3589020"/>
                </a:cubicBezTo>
                <a:cubicBezTo>
                  <a:pt x="1546587" y="3589020"/>
                  <a:pt x="0" y="2215899"/>
                  <a:pt x="0" y="522069"/>
                </a:cubicBezTo>
                <a:cubicBezTo>
                  <a:pt x="0" y="416205"/>
                  <a:pt x="6042" y="311593"/>
                  <a:pt x="17835" y="208491"/>
                </a:cubicBezTo>
                <a:close/>
              </a:path>
            </a:pathLst>
          </a:custGeom>
          <a:solidFill>
            <a:srgbClr val="F3DED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5C2C1ED-04B4-4BB0-995F-FBE0210316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89258" y="1"/>
            <a:ext cx="6502743" cy="5821831"/>
          </a:xfrm>
          <a:custGeom>
            <a:avLst/>
            <a:gdLst>
              <a:gd name="connsiteX0" fmla="*/ 641777 w 6502743"/>
              <a:gd name="connsiteY0" fmla="*/ 0 h 5821831"/>
              <a:gd name="connsiteX1" fmla="*/ 6502743 w 6502743"/>
              <a:gd name="connsiteY1" fmla="*/ 0 h 5821831"/>
              <a:gd name="connsiteX2" fmla="*/ 6502743 w 6502743"/>
              <a:gd name="connsiteY2" fmla="*/ 4581393 h 5821831"/>
              <a:gd name="connsiteX3" fmla="*/ 6368283 w 6502743"/>
              <a:gd name="connsiteY3" fmla="*/ 4729320 h 5821831"/>
              <a:gd name="connsiteX4" fmla="*/ 3730454 w 6502743"/>
              <a:gd name="connsiteY4" fmla="*/ 5821831 h 5821831"/>
              <a:gd name="connsiteX5" fmla="*/ 0 w 6502743"/>
              <a:gd name="connsiteY5" fmla="*/ 2091765 h 5821831"/>
              <a:gd name="connsiteX6" fmla="*/ 637103 w 6502743"/>
              <a:gd name="connsiteY6" fmla="*/ 6249 h 5821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2743" h="5821831">
                <a:moveTo>
                  <a:pt x="641777" y="0"/>
                </a:moveTo>
                <a:lnTo>
                  <a:pt x="6502743" y="0"/>
                </a:lnTo>
                <a:lnTo>
                  <a:pt x="6502743" y="4581393"/>
                </a:lnTo>
                <a:lnTo>
                  <a:pt x="6368283" y="4729320"/>
                </a:lnTo>
                <a:cubicBezTo>
                  <a:pt x="5693204" y="5404330"/>
                  <a:pt x="4760591" y="5821831"/>
                  <a:pt x="3730454" y="5821831"/>
                </a:cubicBezTo>
                <a:cubicBezTo>
                  <a:pt x="1670181" y="5821831"/>
                  <a:pt x="0" y="4151824"/>
                  <a:pt x="0" y="2091765"/>
                </a:cubicBezTo>
                <a:cubicBezTo>
                  <a:pt x="0" y="1319243"/>
                  <a:pt x="234870" y="601572"/>
                  <a:pt x="637103" y="6249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4952257"/>
            <a:ext cx="5912646" cy="969496"/>
          </a:xfrm>
        </p:spPr>
        <p:txBody>
          <a:bodyPr anchor="b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5976769"/>
            <a:ext cx="591264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0380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7CC54D-2DC9-48B2-9120-D93F728550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B2FE8A8-D76E-449B-9226-24FC2258849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3E1D7BB8-B7E0-4C40-B081-6B8B4100FF7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61618193-91F3-4633-AF08-71C2D692B01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C1EA0EA8-9984-4892-BBD2-610B78FD97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67C023F-45C9-4C10-A2C9-E1C6D66C3B1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6DF5DEA-4A8C-4684-BC3D-9C6A3A811E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BA3F25F2-9508-42A0-840B-E7E985081894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28DDF88F-6B09-F250-440A-37260AC2511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A5CACE3A-EB3A-AC32-C486-22B0ACAD1C9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61484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D22E757-EFE7-4496-8FCA-C88C20717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5310" y="0"/>
            <a:ext cx="5885376" cy="4521285"/>
          </a:xfrm>
          <a:custGeom>
            <a:avLst/>
            <a:gdLst>
              <a:gd name="connsiteX0" fmla="*/ 461865 w 5885376"/>
              <a:gd name="connsiteY0" fmla="*/ 0 h 4521285"/>
              <a:gd name="connsiteX1" fmla="*/ 5423511 w 5885376"/>
              <a:gd name="connsiteY1" fmla="*/ 0 h 4521285"/>
              <a:gd name="connsiteX2" fmla="*/ 5530209 w 5885376"/>
              <a:gd name="connsiteY2" fmla="*/ 175643 h 4521285"/>
              <a:gd name="connsiteX3" fmla="*/ 5885376 w 5885376"/>
              <a:gd name="connsiteY3" fmla="*/ 1578398 h 4521285"/>
              <a:gd name="connsiteX4" fmla="*/ 2942688 w 5885376"/>
              <a:gd name="connsiteY4" fmla="*/ 4521285 h 4521285"/>
              <a:gd name="connsiteX5" fmla="*/ 0 w 5885376"/>
              <a:gd name="connsiteY5" fmla="*/ 1578398 h 4521285"/>
              <a:gd name="connsiteX6" fmla="*/ 355167 w 5885376"/>
              <a:gd name="connsiteY6" fmla="*/ 175643 h 452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85376" h="4521285">
                <a:moveTo>
                  <a:pt x="461865" y="0"/>
                </a:moveTo>
                <a:lnTo>
                  <a:pt x="5423511" y="0"/>
                </a:lnTo>
                <a:lnTo>
                  <a:pt x="5530209" y="175643"/>
                </a:lnTo>
                <a:cubicBezTo>
                  <a:pt x="5756715" y="592630"/>
                  <a:pt x="5885376" y="1070488"/>
                  <a:pt x="5885376" y="1578398"/>
                </a:cubicBezTo>
                <a:cubicBezTo>
                  <a:pt x="5885376" y="3203710"/>
                  <a:pt x="4567890" y="4521285"/>
                  <a:pt x="2942688" y="4521285"/>
                </a:cubicBezTo>
                <a:cubicBezTo>
                  <a:pt x="1317486" y="4521285"/>
                  <a:pt x="0" y="3203710"/>
                  <a:pt x="0" y="1578398"/>
                </a:cubicBezTo>
                <a:cubicBezTo>
                  <a:pt x="0" y="1070488"/>
                  <a:pt x="128661" y="592630"/>
                  <a:pt x="355167" y="175643"/>
                </a:cubicBezTo>
                <a:close/>
              </a:path>
            </a:pathLst>
          </a:custGeom>
          <a:solidFill>
            <a:srgbClr val="D9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73AC3B-A4A9-4926-98E2-D54C056F90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4350" y="1270489"/>
            <a:ext cx="6757650" cy="5587512"/>
          </a:xfrm>
          <a:custGeom>
            <a:avLst/>
            <a:gdLst>
              <a:gd name="connsiteX0" fmla="*/ 3737429 w 6757650"/>
              <a:gd name="connsiteY0" fmla="*/ 0 h 5587512"/>
              <a:gd name="connsiteX1" fmla="*/ 6621411 w 6757650"/>
              <a:gd name="connsiteY1" fmla="*/ 1360397 h 5587512"/>
              <a:gd name="connsiteX2" fmla="*/ 6757650 w 6757650"/>
              <a:gd name="connsiteY2" fmla="*/ 1542630 h 5587512"/>
              <a:gd name="connsiteX3" fmla="*/ 6757650 w 6757650"/>
              <a:gd name="connsiteY3" fmla="*/ 5587512 h 5587512"/>
              <a:gd name="connsiteX4" fmla="*/ 491968 w 6757650"/>
              <a:gd name="connsiteY4" fmla="*/ 5587512 h 5587512"/>
              <a:gd name="connsiteX5" fmla="*/ 451088 w 6757650"/>
              <a:gd name="connsiteY5" fmla="*/ 5520206 h 5587512"/>
              <a:gd name="connsiteX6" fmla="*/ 0 w 6757650"/>
              <a:gd name="connsiteY6" fmla="*/ 3738307 h 5587512"/>
              <a:gd name="connsiteX7" fmla="*/ 3737429 w 6757650"/>
              <a:gd name="connsiteY7" fmla="*/ 0 h 5587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7650" h="5587512">
                <a:moveTo>
                  <a:pt x="3737429" y="0"/>
                </a:moveTo>
                <a:cubicBezTo>
                  <a:pt x="4898499" y="0"/>
                  <a:pt x="5935911" y="529568"/>
                  <a:pt x="6621411" y="1360397"/>
                </a:cubicBezTo>
                <a:lnTo>
                  <a:pt x="6757650" y="1542630"/>
                </a:lnTo>
                <a:lnTo>
                  <a:pt x="6757650" y="5587512"/>
                </a:lnTo>
                <a:lnTo>
                  <a:pt x="491968" y="5587512"/>
                </a:lnTo>
                <a:lnTo>
                  <a:pt x="451088" y="5520206"/>
                </a:lnTo>
                <a:cubicBezTo>
                  <a:pt x="163409" y="4990513"/>
                  <a:pt x="0" y="4383498"/>
                  <a:pt x="0" y="3738307"/>
                </a:cubicBezTo>
                <a:cubicBezTo>
                  <a:pt x="0" y="1673697"/>
                  <a:pt x="1673304" y="0"/>
                  <a:pt x="37374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1015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1367221"/>
            <a:ext cx="5614196" cy="969496"/>
          </a:xfrm>
        </p:spPr>
        <p:txBody>
          <a:bodyPr anchor="ctr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2556833"/>
            <a:ext cx="561419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E1BA9-A908-4A48-A0A6-59B33BE169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A1CC3DA1-6E86-4C3A-B22E-95896C5B284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F58B9B1-B8B4-4686-95DA-24EC9795FA3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2F8CF7-A768-4FDA-B0E0-9D9BFBF0536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8EC9EC8E-BBE1-4C9B-B12F-C37E375434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1D75CE87-EA9B-47E7-853C-FAC43232B17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213F449-5667-488C-B67F-599AB7F3199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5" name="addin_image" hidden="1">
            <a:extLst>
              <a:ext uri="{FF2B5EF4-FFF2-40B4-BE49-F238E27FC236}">
                <a16:creationId xmlns:a16="http://schemas.microsoft.com/office/drawing/2014/main" id="{92472BBB-FF87-41B4-95E1-040D828D78AC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F92353C6-039E-6677-F3CE-FE56CC1B162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86FB9DEF-5E03-88EB-B5A2-DA56CDBD2D0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60070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9BB2EB-AC30-458C-8A51-78396746304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94140" y="3746500"/>
            <a:ext cx="7797860" cy="31115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129452"/>
            <a:ext cx="4077436" cy="2308324"/>
          </a:xfrm>
        </p:spPr>
        <p:txBody>
          <a:bodyPr>
            <a:noAutofit/>
          </a:bodyPr>
          <a:lstStyle>
            <a:lvl1pPr marL="0" indent="0">
              <a:buNone/>
              <a:defRPr sz="15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900" y="4231704"/>
            <a:ext cx="6681674" cy="9685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5900" y="5385925"/>
            <a:ext cx="6681674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D686DF5-6783-49D1-A41E-12D23A566A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59C43119-D1A7-415A-9B56-BB4C24B48D4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B3653F2D-47AC-43E1-A4F9-A6890FE46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6546765-0756-4B17-9E12-187EA7A828E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184A1887-91A2-4FF0-90C1-337F68E109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F5BC4CF7-4561-4A71-AF04-561C00C4AD4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863F087-9D6E-4220-8839-5C80E284A31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84A80EA-372E-4020-AAFF-EA2E11888C8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DE3EFA86-4F0D-4D8F-A8A2-EC95FFEC0C4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4" name="logo_blaa" hidden="1">
            <a:extLst>
              <a:ext uri="{FF2B5EF4-FFF2-40B4-BE49-F238E27FC236}">
                <a16:creationId xmlns:a16="http://schemas.microsoft.com/office/drawing/2014/main" id="{26128C8C-F35D-1D13-BFD4-8228FC05B37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F7BDA97E-26A9-8C05-BCEB-0B51336162E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673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321DF-3A33-4CC1-B5B4-4FEC55D27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92F2E7-3B07-419D-B3BD-4D2B0A9B9A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2" y="233096"/>
            <a:ext cx="5589587" cy="341313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</a:lstStyle>
          <a:p>
            <a:pPr lvl="0"/>
            <a:r>
              <a:rPr lang="en-US" dirty="0" err="1"/>
              <a:t>Deskriptor</a:t>
            </a:r>
            <a:r>
              <a:rPr lang="en-US" dirty="0"/>
              <a:t> for </a:t>
            </a:r>
            <a:r>
              <a:rPr lang="en-US" dirty="0" err="1"/>
              <a:t>bild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8628ED4-BEC0-4634-8E8D-6E8B1F0192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A078E940-72D0-42A4-93F1-0ED159E95F5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D37F48B1-7ACE-4F4E-8A31-8FF315C54D1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8F4AEB-14D2-4216-AC0E-A75496A332B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C1F6EC1-046D-4D1B-ACDF-11EC0B74914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F98C4818-990B-4A03-A765-145459C6F9E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DF3A714-D07A-4DCB-BE64-85ABAC3DA10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EA4FB2CF-9FF1-4850-8037-423724FE76A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577E44D0-6E18-4464-AA46-505BD8E43B3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3932BAD-EFF5-412E-A960-7D42348E32D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574E2B7F-40AC-7748-2AFB-DDBE03BC72DE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9" name="logo_hvit" hidden="1">
            <a:extLst>
              <a:ext uri="{FF2B5EF4-FFF2-40B4-BE49-F238E27FC236}">
                <a16:creationId xmlns:a16="http://schemas.microsoft.com/office/drawing/2014/main" id="{B4F68DE2-8C53-B396-BCF7-C87AEEDF546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04274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7958934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1695768"/>
            <a:ext cx="698658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6BAA0E-1B86-4920-A1B2-C297FAE1CD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2FBF37D-5623-4C94-95F7-6B688EA5553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D34625E-682F-408E-9E14-44E86352C20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C088646E-0C10-49D0-94E8-3DB163FA2C4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FAED136-CB72-41E9-B69D-5D4265BCF28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030D9758-64E0-4C2C-B06A-CF33C984FB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1E9C160B-0092-42DA-9F24-0CD3E8D3FC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F8B621-0985-46F8-805B-7FF310B15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051" y="2216151"/>
            <a:ext cx="6986849" cy="33337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0" name="logo_blaa" hidden="1">
            <a:extLst>
              <a:ext uri="{FF2B5EF4-FFF2-40B4-BE49-F238E27FC236}">
                <a16:creationId xmlns:a16="http://schemas.microsoft.com/office/drawing/2014/main" id="{363C9E05-D965-514A-50D6-070DEB4E95E2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66AE1A33-C7E1-E457-F750-B0CC61592C4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90084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984" y="1695768"/>
            <a:ext cx="8237830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FE5726C-38E7-483F-A737-043513F3D34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3983" y="2216149"/>
            <a:ext cx="8237830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4F6634E7-E00E-73DE-B290-487C9CFA8C2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2C7FB007-7A7F-AE80-B6B5-16401BCAB8A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04491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8256" y="1695768"/>
            <a:ext cx="1055355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F1C9804-CF58-42D2-9F31-B4AF21DCFD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8255" y="2216149"/>
            <a:ext cx="10553558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78526989-A534-48DE-5DF7-025D00C66B8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4A97A013-E771-2551-7A11-49670EFC0D5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216853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4DFAB5E3-9CBE-4BC7-B63B-591246D541D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8237830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445F0122-0E66-6343-CC95-5FA32C65A53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C7B5D3EE-A886-CA40-49DB-FC12D51D2E3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0959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sto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0" y="1695769"/>
            <a:ext cx="10553558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996038D2-C990-3641-4AC3-22A69C76C1C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DBE8FEE1-C0C4-62E8-F0FA-A904A1A6EAD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16471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C4AA29A-0515-470D-9A65-B35D1360972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16842" y="1695769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innhold 1">
            <a:extLst>
              <a:ext uri="{FF2B5EF4-FFF2-40B4-BE49-F238E27FC236}">
                <a16:creationId xmlns:a16="http://schemas.microsoft.com/office/drawing/2014/main" id="{D75067CC-B9B0-4E2C-A856-0B89673E34E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5721755" y="1695768"/>
            <a:ext cx="5148643" cy="4335803"/>
          </a:xfrm>
          <a:prstGeom prst="rect">
            <a:avLst/>
          </a:prstGeom>
        </p:spPr>
        <p:txBody>
          <a:bodyPr lIns="0" tIns="0" rIns="0" bIns="0"/>
          <a:lstStyle>
            <a:lvl1pPr marL="2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400" b="0" i="0" u="none" cap="none">
                <a:solidFill>
                  <a:srgbClr val="00207D"/>
                </a:solidFill>
                <a:latin typeface="+mn-lt"/>
              </a:defRPr>
            </a:lvl1pPr>
            <a:lvl2pPr marL="7452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rgbClr val="00207D"/>
                </a:solidFill>
                <a:latin typeface="+mn-lt"/>
              </a:defRPr>
            </a:lvl2pPr>
            <a:lvl3pPr marL="114300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100" b="0" i="0" u="none" cap="none">
                <a:solidFill>
                  <a:srgbClr val="00207D"/>
                </a:solidFill>
                <a:latin typeface="+mn-lt"/>
              </a:defRPr>
            </a:lvl3pPr>
            <a:lvl4pPr marL="163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000" b="0" i="0" u="none" cap="none">
                <a:solidFill>
                  <a:srgbClr val="00207D"/>
                </a:solidFill>
                <a:latin typeface="+mn-lt"/>
              </a:defRPr>
            </a:lvl4pPr>
            <a:lvl5pPr marL="2088000" indent="-288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900" b="0" i="0" u="none" cap="none">
                <a:solidFill>
                  <a:srgbClr val="00207D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FED28386-F90A-68B6-7BE3-759E3F6444F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B895F5CD-F477-05F3-A6C6-6E51CCC4CC8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52003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321DF-3A33-4CC1-B5B4-4FEC55D27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92F2E7-3B07-419D-B3BD-4D2B0A9B9A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2" y="233096"/>
            <a:ext cx="5589587" cy="341313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</a:lstStyle>
          <a:p>
            <a:pPr lvl="0"/>
            <a:r>
              <a:rPr lang="en-US" dirty="0" err="1"/>
              <a:t>Deskriptor</a:t>
            </a:r>
            <a:r>
              <a:rPr lang="en-US" dirty="0"/>
              <a:t> for </a:t>
            </a:r>
            <a:r>
              <a:rPr lang="en-US" dirty="0" err="1"/>
              <a:t>bild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8628ED4-BEC0-4634-8E8D-6E8B1F0192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A078E940-72D0-42A4-93F1-0ED159E95F5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D37F48B1-7ACE-4F4E-8A31-8FF315C54D1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8F4AEB-14D2-4216-AC0E-A75496A332B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C1F6EC1-046D-4D1B-ACDF-11EC0B74914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F98C4818-990B-4A03-A765-145459C6F9E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DF3A714-D07A-4DCB-BE64-85ABAC3DA10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EA4FB2CF-9FF1-4850-8037-423724FE76A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577E44D0-6E18-4464-AA46-505BD8E43B3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3932BAD-EFF5-412E-A960-7D42348E32D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205710E2-A624-E43E-BF61-5CB99315D72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99D1EEC0-23E7-19CF-D948-DE5CD39FC9B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23231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6392DCB-D9F5-45C4-91D7-0EC3B95F3B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B83287C-1B6D-42A7-B810-707CF60965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52C60E8-6184-4E09-BFB9-914124AA58A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4F4C1600-3FC9-4DE3-AE62-F70A46786D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4F33EF02-B40B-40D4-BCF1-E6DD8A71FA0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3FDBBF1B-E505-4C56-B7B9-E7A60C1AB33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A57301C-BDC3-4E80-B43E-AD9F9CA9505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D171F4EA-811C-4530-8202-F7F86CC5E3C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BED07210-E86B-4E5E-B346-60D1CAFCC6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DefLogoHvit" hidden="1">
            <a:extLst>
              <a:ext uri="{FF2B5EF4-FFF2-40B4-BE49-F238E27FC236}">
                <a16:creationId xmlns:a16="http://schemas.microsoft.com/office/drawing/2014/main" id="{BC632F05-D42F-449E-9874-9E9ECBD0D89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5EF44-DFF9-4153-9226-166E215234C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C983DB0E-101E-8B3F-32B3-354CFD3DAA6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F07176D3-1C76-206F-BD59-5BAF3DC1C97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71301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A8A8A2A-6A3B-44AB-8647-260EC7923E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100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100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839F9B-ED44-48F4-B5D6-98DC325BA7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099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099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EE90C330-BC1A-F553-3041-983BCAF1E30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51F972E8-A39A-BBB9-BB54-8BFDD81CB27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88830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, liten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D115F76-499E-4BA8-ACCD-A3E76104C3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8" y="3714716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  <a:solidFill>
            <a:srgbClr val="002776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041E85E-F425-444C-8552-A079AFFD57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9" y="3714715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9C9D718A-7E1B-9E13-033E-07B17A36B23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EA267CB1-86AF-406B-5246-AB252993EEC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0836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6392DCB-D9F5-45C4-91D7-0EC3B95F3B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B83287C-1B6D-42A7-B810-707CF60965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52C60E8-6184-4E09-BFB9-914124AA58A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4F4C1600-3FC9-4DE3-AE62-F70A46786D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4F33EF02-B40B-40D4-BCF1-E6DD8A71FA0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3FDBBF1B-E505-4C56-B7B9-E7A60C1AB33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A57301C-BDC3-4E80-B43E-AD9F9CA9505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D171F4EA-811C-4530-8202-F7F86CC5E3C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BED07210-E86B-4E5E-B346-60D1CAFCC6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DefLogoHvit" hidden="1">
            <a:extLst>
              <a:ext uri="{FF2B5EF4-FFF2-40B4-BE49-F238E27FC236}">
                <a16:creationId xmlns:a16="http://schemas.microsoft.com/office/drawing/2014/main" id="{BC632F05-D42F-449E-9874-9E9ECBD0D89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5EF44-DFF9-4153-9226-166E215234C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17B310FC-2B45-D1A2-332A-E04135CE3C23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EBD055C9-7593-2450-C0F4-D2BC5B866CAD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93161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B906783-82F7-4F06-A909-92414CF278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372FE5E-CAA5-4EE3-813D-053EE9B99F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E1AB944-55F7-447E-B1B0-7777CEB8144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3C3E6D96-3091-423E-B530-6AA7F835351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865A7262-53CB-411A-B2DD-5D7B0999607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4363F96A-DC31-41C7-A2CA-C1A3F458F8B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CE2A7C8C-4183-49E0-A81F-A87C95D40E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17877C-C149-4333-893F-07266CF802A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139D70A2-5F98-4E2C-B189-EE2B4FDCCAD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D390523-127C-4A96-AEC0-9D4C14B03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3041F739-C6C8-45A7-9C0D-685B68A2F2D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E16B7E-1832-4A1C-881A-B121241BBC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C6D8709C-7920-2E0F-E50A-7D8252A81D9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D62EE86A-7956-DB46-5681-EE2E3CCF03C2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521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Høyre) 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D26DCF0-7676-47A4-8E76-C67AEF8C71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9902AC6-0866-4866-BEB8-3EF36AE083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86E4A578-2604-4EF1-A112-B6EEBB1650D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53BD8B14-1016-4228-ABB8-79ED792B2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9D41E301-6567-4BD4-9BF8-E8D9532FBFF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BE22B59-58E2-4A77-A9D7-CC7F38F62F49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4E36FD8-70FB-44F5-8C26-61B5CE08134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D79908-CF76-4F3E-A9EC-C9C524CEFC5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A2CF66BD-25DA-4FF6-9589-251CB8ECC8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4914B5D-5A23-45A9-B953-59A3D98B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A9A38E28-BCBE-41B5-9F74-A416D15CB715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013F9-6889-481B-A280-1985D2203EE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06A88187-E13C-2C55-7FEB-DA9F82D70703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B292F55C-BEB4-E584-3E96-A6B16EE292B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7683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Bak)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EBDE9C1-A6AF-42BB-AD3E-EC5033DF7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881F7AB-121D-483A-BEEB-047633213E2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1F051DA2-02ED-4843-9F7B-A5F1B5FA1D4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37967A0-F11A-4DEB-8752-F51E6C30160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0BCBC18E-CFC3-4CBA-A77B-FCEE20A0D0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DAE9B024-9850-4644-969C-845FA2224C3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4C82FF42-4159-46F4-9A84-97CFCB2094A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A9A00501-7D4B-4A4A-9C7E-528975384D02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7EA08099-CF4B-47D5-AE1A-473F68B466A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4CCB132E-541D-32B2-788A-423F914451E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666A23CC-C2FF-5E75-C4E9-5003023AD912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73023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5AB121-B777-4009-80C1-75B8761B0C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138087C-6F4A-4D28-8FDF-F085F699A2C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6706D5D-D638-4DB1-9AC8-CD8309B275C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06DEFD4A-FB2F-46A7-8EFB-9873F806D4F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5848A094-42A0-4FA4-B133-A3B7A7B39B0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15ECCDD0-B9DF-490B-8070-810E4261072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20FD1917-1441-4832-9EC0-0D1DABCB58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757AAD15-4D1F-4961-B536-5ECA1FDCBEF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9207E573-3D16-4F72-83D9-249A5604221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09B23D16-E652-D371-7B60-E200014F59A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6431673A-6683-787D-B2B8-C73226DD057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1913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17378-974D-4128-8D5E-84FC6512327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26380" y="3247853"/>
            <a:ext cx="6865620" cy="3610147"/>
          </a:xfrm>
          <a:prstGeom prst="round1Rect">
            <a:avLst>
              <a:gd name="adj" fmla="val 39195"/>
            </a:avLst>
          </a:prstGeom>
          <a:solidFill>
            <a:srgbClr val="FDF3F2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970" y="4257902"/>
            <a:ext cx="4607604" cy="39405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4B4CF32-5696-483C-9E36-AECAC554D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718968E-017F-4F68-8388-B2E458897E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95677D21-AB8E-4EAE-937F-550723AA605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0DA2D151-1A8B-4DE7-921B-4788399FB6A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3A0026-16AF-4E57-831A-D74BAFCE142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E142F18-FA97-44F7-B279-1943E3BC51B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366C5A4A-E52D-4E55-82D4-F2A3DEF098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C71F8D16-8429-46C8-A55F-53113E72FB3A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D5F194-6865-43D1-A2E9-4920E38BE8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69971" y="4792663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CD7E94BC-22B1-0997-E9A4-F46C0407E14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3610C66A-EA4F-678B-B6C8-975CE5B58B0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60184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8E7BC67-93D3-4DE1-9069-B45F8FFA378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 hidden="1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419600" y="4651956"/>
            <a:ext cx="7772400" cy="2206044"/>
          </a:xfrm>
          <a:custGeom>
            <a:avLst/>
            <a:gdLst>
              <a:gd name="connsiteX0" fmla="*/ 6126453 w 7772400"/>
              <a:gd name="connsiteY0" fmla="*/ 0 h 2206044"/>
              <a:gd name="connsiteX1" fmla="*/ 0 w 7772400"/>
              <a:gd name="connsiteY1" fmla="*/ 0 h 2206044"/>
              <a:gd name="connsiteX2" fmla="*/ 0 w 7772400"/>
              <a:gd name="connsiteY2" fmla="*/ 2206044 h 2206044"/>
              <a:gd name="connsiteX3" fmla="*/ 7772400 w 7772400"/>
              <a:gd name="connsiteY3" fmla="*/ 2206044 h 2206044"/>
              <a:gd name="connsiteX4" fmla="*/ 7772400 w 7772400"/>
              <a:gd name="connsiteY4" fmla="*/ 1645947 h 2206044"/>
              <a:gd name="connsiteX5" fmla="*/ 6126453 w 7772400"/>
              <a:gd name="connsiteY5" fmla="*/ 0 h 2206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400" h="2206044">
                <a:moveTo>
                  <a:pt x="6126453" y="0"/>
                </a:moveTo>
                <a:lnTo>
                  <a:pt x="0" y="0"/>
                </a:lnTo>
                <a:lnTo>
                  <a:pt x="0" y="2206044"/>
                </a:lnTo>
                <a:lnTo>
                  <a:pt x="7772400" y="2206044"/>
                </a:lnTo>
                <a:lnTo>
                  <a:pt x="7772400" y="1645947"/>
                </a:lnTo>
                <a:cubicBezTo>
                  <a:pt x="7772400" y="736916"/>
                  <a:pt x="7035484" y="0"/>
                  <a:pt x="6126453" y="0"/>
                </a:cubicBezTo>
                <a:close/>
              </a:path>
            </a:pathLst>
          </a:cu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723901"/>
            <a:ext cx="4607762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135E41-F011-45ED-BC06-DEDEFCACBB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C9EA006E-2080-4935-92C8-631EA67245C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3" name="addin_colorbox" hidden="1">
            <a:extLst>
              <a:ext uri="{FF2B5EF4-FFF2-40B4-BE49-F238E27FC236}">
                <a16:creationId xmlns:a16="http://schemas.microsoft.com/office/drawing/2014/main" id="{2FC96FE8-006C-4558-8BA8-53291D4137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4" name="addin_background" hidden="1">
            <a:extLst>
              <a:ext uri="{FF2B5EF4-FFF2-40B4-BE49-F238E27FC236}">
                <a16:creationId xmlns:a16="http://schemas.microsoft.com/office/drawing/2014/main" id="{366A9094-1F57-4D0B-A622-EDA13749F05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5" name="addin_logo" hidden="1">
            <a:extLst>
              <a:ext uri="{FF2B5EF4-FFF2-40B4-BE49-F238E27FC236}">
                <a16:creationId xmlns:a16="http://schemas.microsoft.com/office/drawing/2014/main" id="{34FCEA06-8CAE-4214-8ECB-62EE1CDCC7A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66A5CB83-A611-486A-A11E-524EC248C2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FF933DB9-766C-426B-B11E-45A6BA6095A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 hidden="1">
            <a:extLst>
              <a:ext uri="{FF2B5EF4-FFF2-40B4-BE49-F238E27FC236}">
                <a16:creationId xmlns:a16="http://schemas.microsoft.com/office/drawing/2014/main" id="{4475D5B4-B04D-492A-BF9B-685A53F0430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5913" y="853321"/>
            <a:ext cx="534828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794821EF-9AF2-4167-BA65-8EAF8E8DEA4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5763" y="1196836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CA42C7DF-ED2B-443A-9FB1-BC0F52E371D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76813" y="5544693"/>
            <a:ext cx="7000761" cy="5905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D4AF6266-31C9-74F0-DF48-9763ACBD295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8" name="logo_hvit" hidden="1">
            <a:extLst>
              <a:ext uri="{FF2B5EF4-FFF2-40B4-BE49-F238E27FC236}">
                <a16:creationId xmlns:a16="http://schemas.microsoft.com/office/drawing/2014/main" id="{C3A30C49-076F-E3DD-D287-18151AC0CA5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8371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Høyre og venstre)">
    <p:bg>
      <p:bgPr>
        <a:solidFill>
          <a:srgbClr val="FB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D96C6F-2B95-4858-B2FD-E57FE81F2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6080" y="0"/>
            <a:ext cx="545592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F8DC9D5-24ED-458C-90BB-732F5F9D6B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0"/>
            <a:ext cx="6587243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-1" y="0"/>
            <a:ext cx="658724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730171"/>
            <a:ext cx="6850742" cy="3127829"/>
          </a:xfrm>
          <a:prstGeom prst="round1Rect">
            <a:avLst>
              <a:gd name="adj" fmla="val 44896"/>
            </a:avLst>
          </a:pr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4729846"/>
            <a:ext cx="4891810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736080" y="0"/>
            <a:ext cx="5455919" cy="3730171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44182F-BA54-48B0-B256-4947640EB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addin_colorlist" hidden="1">
            <a:extLst>
              <a:ext uri="{FF2B5EF4-FFF2-40B4-BE49-F238E27FC236}">
                <a16:creationId xmlns:a16="http://schemas.microsoft.com/office/drawing/2014/main" id="{C273E00C-50FC-4C09-837B-667751499D4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2" name="addin_colorbox" hidden="1">
            <a:extLst>
              <a:ext uri="{FF2B5EF4-FFF2-40B4-BE49-F238E27FC236}">
                <a16:creationId xmlns:a16="http://schemas.microsoft.com/office/drawing/2014/main" id="{1136DBA2-434B-4983-86EB-77F8FA3578A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EEA2228F-8BF9-4C93-9035-4B6EF6481C8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addin_logo" hidden="1">
            <a:extLst>
              <a:ext uri="{FF2B5EF4-FFF2-40B4-BE49-F238E27FC236}">
                <a16:creationId xmlns:a16="http://schemas.microsoft.com/office/drawing/2014/main" id="{BF822C3C-A96D-4C31-9A95-60C5B3D4B25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919718A-FF57-49A0-9771-B176C0DE0BB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6" name="addin_text" hidden="1">
            <a:extLst>
              <a:ext uri="{FF2B5EF4-FFF2-40B4-BE49-F238E27FC236}">
                <a16:creationId xmlns:a16="http://schemas.microsoft.com/office/drawing/2014/main" id="{84AA82A5-69A9-42C5-A00A-E051759316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593EE2-8E41-475D-BA91-5A5948E62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85762" y="5202781"/>
            <a:ext cx="4891811" cy="82515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0EB77C8E-6D1A-02B7-C9FA-A478502D9C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8" name="logo_hvit" hidden="1">
            <a:extLst>
              <a:ext uri="{FF2B5EF4-FFF2-40B4-BE49-F238E27FC236}">
                <a16:creationId xmlns:a16="http://schemas.microsoft.com/office/drawing/2014/main" id="{63E970E0-A179-A1C3-EF55-AE3D1875434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15366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Venst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0" y="0"/>
            <a:ext cx="7353300" cy="6858000"/>
          </a:xfrm>
          <a:prstGeom prst="round1Rect">
            <a:avLst>
              <a:gd name="adj" fmla="val 38976"/>
            </a:avLst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232150"/>
            <a:ext cx="6850742" cy="3625851"/>
          </a:xfrm>
          <a:prstGeom prst="round1Rect">
            <a:avLst>
              <a:gd name="adj" fmla="val 38591"/>
            </a:avLst>
          </a:prstGeom>
          <a:solidFill>
            <a:srgbClr val="FDF3F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7069" y="2090825"/>
            <a:ext cx="4210504" cy="553998"/>
          </a:xfrm>
        </p:spPr>
        <p:txBody>
          <a:bodyPr anchor="b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67068" y="2766475"/>
            <a:ext cx="4210505" cy="392650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67069" y="4179840"/>
            <a:ext cx="4210505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0E5897B-0128-4833-ABC7-9D5B944D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addin_colorlist" hidden="1">
            <a:extLst>
              <a:ext uri="{FF2B5EF4-FFF2-40B4-BE49-F238E27FC236}">
                <a16:creationId xmlns:a16="http://schemas.microsoft.com/office/drawing/2014/main" id="{7BD4C53C-108D-4394-8456-4042468C0E3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B367CA8A-46EF-4B57-A802-BB29E53CA95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8EC9AE72-4105-48A6-A086-47AFE82C935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2F1AA884-7DE6-4EAE-BF6F-1767EE3A5B0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B8B387BA-8B81-4475-9FC8-702C90AFA83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D9145AC7-3FAF-40CE-9C66-69B589F567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818D3C5-E00B-4293-821C-798C4F134E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67025" y="4614675"/>
            <a:ext cx="4210549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27D20F31-F369-E120-408A-BAC8B480A7F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A7FD8670-FF52-9DD7-FE71-FD80FA5A787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44558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3 boks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13DEE0-CCAF-47EA-A14D-D76793842F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49008" y="-8758"/>
            <a:ext cx="3949700" cy="6866758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16FC5DA-8226-4CF8-B228-E01FC1487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39200" y="349009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51F98C5-2BE5-42D7-BB2F-61E1BA87BF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9200" y="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5F59F70E-C806-43BD-9D89-C54E8C3B0DB3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39200" y="3498849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749800" y="-2"/>
            <a:ext cx="3949700" cy="685799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394970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910471"/>
            <a:ext cx="3949701" cy="55399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839200" y="0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4D51EAA-A93B-4020-8227-613B86276B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919271A-D69E-44B1-9601-857C23308C2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524CAE9B-B20C-4A8D-934B-59339B019D1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AC83C4E6-04D0-4072-8F3C-7976CB3356C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6A95789E-F5A3-4946-AB59-D1C0D4FF1F3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3D365EEB-3C51-4BE4-88F0-1FC8A2B887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0B668723-1F65-41E9-8B0D-4C408D3AF15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DefLogoHvit" hidden="1">
            <a:extLst>
              <a:ext uri="{FF2B5EF4-FFF2-40B4-BE49-F238E27FC236}">
                <a16:creationId xmlns:a16="http://schemas.microsoft.com/office/drawing/2014/main" id="{1B4E343D-3448-4288-96A0-8161A1BCA02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549804D6-DBC7-4F01-9B86-DCB54C291E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2121720"/>
            <a:ext cx="3949700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5C00DA6F-62A6-4626-43B9-C7FCFDA5C35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3A42561D-F46E-E57A-99E2-7C6176809AD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35055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innhold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BFA32DA-0415-49CF-BCF9-38F570B362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25597" y="0"/>
            <a:ext cx="4266403" cy="686675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925597" y="1"/>
            <a:ext cx="4259939" cy="6857999"/>
          </a:xfrm>
          <a:prstGeom prst="rect">
            <a:avLst/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6163919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D2C0544-2BE4-48B0-9C84-7496C2E325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35BFD6A-9EBA-437D-94D3-A22AE9F3BF6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E9F07D1-9FDA-4010-B64C-C1629BFE350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0B018755-7928-4745-9B40-F3496CA5DF1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633A8CE6-D1F0-4276-AE71-8C8663E262E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FDD8280D-ED4A-4383-944E-05E4FE2BF96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94003EC-43C4-4410-B11C-73FEE191870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3341E66A-52C3-4488-998F-D252AB6C05B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BAA402BF-A073-4F44-B5BE-D9D57BDB227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199256" y="1698171"/>
            <a:ext cx="4259939" cy="383902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8F875019-289F-A4FA-4A50-5BD940339EC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48674CAF-6D89-839E-B44F-E4C19D47207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576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ernativ forside uten bil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ihåndsform: figur 34">
            <a:extLst>
              <a:ext uri="{FF2B5EF4-FFF2-40B4-BE49-F238E27FC236}">
                <a16:creationId xmlns:a16="http://schemas.microsoft.com/office/drawing/2014/main" id="{FEC2C7E8-2BAA-4586-B492-F62F07C9E11E}"/>
              </a:ext>
            </a:extLst>
          </p:cNvPr>
          <p:cNvSpPr/>
          <p:nvPr userDrawn="1"/>
        </p:nvSpPr>
        <p:spPr>
          <a:xfrm>
            <a:off x="8643130" y="4478410"/>
            <a:ext cx="3548870" cy="2379590"/>
          </a:xfrm>
          <a:custGeom>
            <a:avLst/>
            <a:gdLst>
              <a:gd name="connsiteX0" fmla="*/ 3548870 w 3548870"/>
              <a:gd name="connsiteY0" fmla="*/ 0 h 2379590"/>
              <a:gd name="connsiteX1" fmla="*/ 3548870 w 3548870"/>
              <a:gd name="connsiteY1" fmla="*/ 2379590 h 2379590"/>
              <a:gd name="connsiteX2" fmla="*/ 0 w 3548870"/>
              <a:gd name="connsiteY2" fmla="*/ 2379590 h 2379590"/>
              <a:gd name="connsiteX3" fmla="*/ 72242 w 3548870"/>
              <a:gd name="connsiteY3" fmla="*/ 2218043 h 2379590"/>
              <a:gd name="connsiteX4" fmla="*/ 3364761 w 3548870"/>
              <a:gd name="connsiteY4" fmla="*/ 4706 h 2379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48870" h="2379590">
                <a:moveTo>
                  <a:pt x="3548870" y="0"/>
                </a:moveTo>
                <a:lnTo>
                  <a:pt x="3548870" y="2379590"/>
                </a:lnTo>
                <a:lnTo>
                  <a:pt x="0" y="2379590"/>
                </a:lnTo>
                <a:lnTo>
                  <a:pt x="72242" y="2218043"/>
                </a:lnTo>
                <a:cubicBezTo>
                  <a:pt x="670673" y="962488"/>
                  <a:pt x="1912166" y="79145"/>
                  <a:pt x="3364761" y="47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Plassholder for tekst 27">
            <a:extLst>
              <a:ext uri="{FF2B5EF4-FFF2-40B4-BE49-F238E27FC236}">
                <a16:creationId xmlns:a16="http://schemas.microsoft.com/office/drawing/2014/main" id="{AC732900-C482-4FED-BE14-15E1B9D9A0D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7094193" cy="5000626"/>
          </a:xfrm>
          <a:custGeom>
            <a:avLst/>
            <a:gdLst>
              <a:gd name="connsiteX0" fmla="*/ 0 w 7094193"/>
              <a:gd name="connsiteY0" fmla="*/ 0 h 5000626"/>
              <a:gd name="connsiteX1" fmla="*/ 7094193 w 7094193"/>
              <a:gd name="connsiteY1" fmla="*/ 0 h 5000626"/>
              <a:gd name="connsiteX2" fmla="*/ 7085079 w 7094193"/>
              <a:gd name="connsiteY2" fmla="*/ 52590 h 5000626"/>
              <a:gd name="connsiteX3" fmla="*/ 1193800 w 7094193"/>
              <a:gd name="connsiteY3" fmla="*/ 5000626 h 5000626"/>
              <a:gd name="connsiteX4" fmla="*/ 278011 w 7094193"/>
              <a:gd name="connsiteY4" fmla="*/ 4929224 h 5000626"/>
              <a:gd name="connsiteX5" fmla="*/ 0 w 7094193"/>
              <a:gd name="connsiteY5" fmla="*/ 4878061 h 5000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94193" h="5000626">
                <a:moveTo>
                  <a:pt x="0" y="0"/>
                </a:moveTo>
                <a:lnTo>
                  <a:pt x="7094193" y="0"/>
                </a:lnTo>
                <a:lnTo>
                  <a:pt x="7085079" y="52590"/>
                </a:lnTo>
                <a:cubicBezTo>
                  <a:pt x="6524347" y="2876429"/>
                  <a:pt x="4099795" y="5000626"/>
                  <a:pt x="1193800" y="5000626"/>
                </a:cubicBezTo>
                <a:cubicBezTo>
                  <a:pt x="882444" y="5000626"/>
                  <a:pt x="576614" y="4976241"/>
                  <a:pt x="278011" y="4929224"/>
                </a:cubicBezTo>
                <a:lnTo>
                  <a:pt x="0" y="4878061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Ellipse 26" hidden="1">
            <a:extLst>
              <a:ext uri="{FF2B5EF4-FFF2-40B4-BE49-F238E27FC236}">
                <a16:creationId xmlns:a16="http://schemas.microsoft.com/office/drawing/2014/main" id="{C58EF7F7-76C4-4C70-91FC-28F032BC9284}"/>
              </a:ext>
            </a:extLst>
          </p:cNvPr>
          <p:cNvSpPr/>
          <p:nvPr userDrawn="1"/>
        </p:nvSpPr>
        <p:spPr>
          <a:xfrm>
            <a:off x="-4819651" y="-7393244"/>
            <a:ext cx="12026901" cy="12393870"/>
          </a:xfrm>
          <a:prstGeom prst="ellipse">
            <a:avLst/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Ellipse 6" hidden="1">
            <a:extLst>
              <a:ext uri="{FF2B5EF4-FFF2-40B4-BE49-F238E27FC236}">
                <a16:creationId xmlns:a16="http://schemas.microsoft.com/office/drawing/2014/main" id="{E7AB5697-707D-455B-8619-528309D6ACBF}"/>
              </a:ext>
            </a:extLst>
          </p:cNvPr>
          <p:cNvSpPr/>
          <p:nvPr userDrawn="1"/>
        </p:nvSpPr>
        <p:spPr>
          <a:xfrm>
            <a:off x="8333366" y="4478020"/>
            <a:ext cx="7747747" cy="7832637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4CF99DCA-46BA-C8FC-B2B0-D7940A361E3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695C4662-3219-3BF3-7A92-28D5E9A417D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687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A8A8A2A-6A3B-44AB-8647-260EC7923E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100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100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839F9B-ED44-48F4-B5D6-98DC325BA7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099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099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B4E0FC2C-A8B7-EE5C-5247-A915C8CA92A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AE3B176D-EC22-17A8-6426-471148D9C0A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16757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87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40B92AA-42BC-432B-8FCD-86D6CFD8E5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363977-D9F6-454E-A94B-C68902B958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8220" y="2476500"/>
            <a:ext cx="3978593" cy="355507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A81454-9B8B-4525-959D-5534FBD4C3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F7888C7-E2BB-4F37-9548-732E47B2D66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0D07F82-624B-4368-B875-4A5180E2445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C608B2B-F460-4524-A128-B881BF70A79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61C83988-EF2B-4F8A-A221-FBA24707F9C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7B8B98E-1475-4FEF-A304-E855B226301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07811DB8-614D-4E24-9368-EBE38BEF6B9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3A47E8CE-2C1D-4AD7-95B9-E7E0918EBD5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A1C21033-AE64-EDF4-D37A-458BED4EB3C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2DC6FCBD-284E-FC21-E8DD-E12B7F4E1E0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01789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6" y="2157469"/>
            <a:ext cx="5560333" cy="1938992"/>
          </a:xfrm>
        </p:spPr>
        <p:txBody>
          <a:bodyPr anchor="b">
            <a:noAutofit/>
          </a:bodyPr>
          <a:lstStyle>
            <a:lvl1pPr algn="ctr">
              <a:lnSpc>
                <a:spcPct val="90000"/>
              </a:lnSpc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“</a:t>
            </a:r>
            <a:r>
              <a:rPr lang="en-US" dirty="0" err="1"/>
              <a:t>Sitat</a:t>
            </a:r>
            <a:r>
              <a:rPr lang="en-US" dirty="0"/>
              <a:t>”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2E9EA-50DA-4C6F-BDBD-45D2CC16F5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7" y="4498845"/>
            <a:ext cx="5560332" cy="215444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93E590-141F-4D3A-BAE4-F780C71B13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359BBBD-8D4D-47A6-A6D2-15A5C12B778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91BDE199-DCB0-44B7-B468-DB0113CDAAD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C20023-01D6-43AC-AC9E-3D5BBB97537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9037258-551C-4040-900F-0E68A78A12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61EAB1CA-B254-4FF7-9B06-83529538730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978D642-AF95-46D9-BDA8-AC5CCCB3ED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E1023C14-08D5-4A55-A00C-020E6A8C9E4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F3F72667-40D6-E1DF-60FE-A517EADD3F3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B5E89CDA-5C13-55EE-0925-A4ACB312746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07148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84523D-32B3-42D2-9506-B4449EF176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15913" y="1460500"/>
            <a:ext cx="6719887" cy="4784725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9981B97-0927-4AE0-B50C-C8C76D99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4499" y="2152968"/>
            <a:ext cx="3912283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94E24CE-73E5-478C-A0AE-B3FF6F4E4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531F68E2-5378-49F8-9089-CF82D4C5C37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A3B53C9F-AC67-475F-A1A3-7F754C8F112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42717750-4B12-4D91-8622-DC0D4272850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CBF86961-0370-4940-A239-56F95E63CBD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0AE0909F-FA8A-42B2-A5EA-7A13B05B37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9400D268-CC84-41FD-B9A3-9510D85E407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0E2F7EB6-BD9A-4CAB-81C5-FA6F6D8726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499" y="2673350"/>
            <a:ext cx="3912283" cy="327546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200A5CE9-339D-0F31-361F-8DEB472EE24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83C86A9C-B35B-11D5-8770-7192B574F68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5135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715658" y="1036637"/>
            <a:ext cx="826112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5EA8AB-6B52-4A25-8679-9037A006B2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C43F1F1-08A8-45E6-8709-A6CF646C389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29DE899F-C243-4AB6-84E9-84DD211AA6D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FD84D5B2-05C4-4708-B0E6-8816C134C1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BC7B844F-3B22-4BC5-AE8F-529F6F8103B2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91826AB-F933-47F3-A50A-E1A9C8C299C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882AA710-D5DF-4B9E-B682-8BC67348AB3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27B46D2-22EB-487B-863E-8C88301E9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5" y="1191898"/>
            <a:ext cx="2822753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E824BAE2-D372-2D9B-5321-37A4F2FE2C3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38850A4D-D10E-24A3-ED70-4691D11860C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91702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2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33B6724-4542-4E0D-A677-8E0AEC06B5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999124DB-8F02-409F-A729-E11030C3457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CD623913-286B-465D-A7E5-0DF3533D4623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CD92FFB2-664D-487F-A82D-D46DC13C7D0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BE133F-DD99-468C-8D55-748939F0F9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AAE24BC9-EA40-4A42-B35A-A5F8924D3B2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2A25BEF6-DC40-4AF2-B91B-D50EB057310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71BDB52-B689-490F-A912-7D7E708067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B28E0006-4653-CA09-EB81-C877DDD99B5D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78E4A275-76E0-2FC4-7A65-F98ED6BA83F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14599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4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5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8" name="Chart Placeholder 5">
            <a:extLst>
              <a:ext uri="{FF2B5EF4-FFF2-40B4-BE49-F238E27FC236}">
                <a16:creationId xmlns:a16="http://schemas.microsoft.com/office/drawing/2014/main" id="{67E0BF1E-FA82-4B7F-B923-BFDB61725C32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8126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CA985493-FA53-488E-8517-92FC07AF2B01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841829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22E512-6705-4C14-9589-C2DACC2CD1B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126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5F680-AEB8-4E1E-9514-7E53E03994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1829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FA83E3-5DF6-44FC-9818-DBD9AC138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addin_colorlist" hidden="1">
            <a:extLst>
              <a:ext uri="{FF2B5EF4-FFF2-40B4-BE49-F238E27FC236}">
                <a16:creationId xmlns:a16="http://schemas.microsoft.com/office/drawing/2014/main" id="{026061BC-914B-4BA8-A2C4-CC0745516D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7639C6D-46FA-4FA7-8EC0-21DEE11DB27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background" hidden="1">
            <a:extLst>
              <a:ext uri="{FF2B5EF4-FFF2-40B4-BE49-F238E27FC236}">
                <a16:creationId xmlns:a16="http://schemas.microsoft.com/office/drawing/2014/main" id="{71D860E0-3EB4-4985-8611-DBB86048C27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040054D-988B-4548-8071-431E56D48E1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3988038F-D2A8-423E-9DE1-C599EB065BA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7291C49E-6F93-4D1D-98F0-6D074E39ECF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F7D3B47-0043-4A21-A582-E9A771DC0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C5C69596-2B62-0E2F-742F-FA2F79CC21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17" name="logo_hvit" hidden="1">
            <a:extLst>
              <a:ext uri="{FF2B5EF4-FFF2-40B4-BE49-F238E27FC236}">
                <a16:creationId xmlns:a16="http://schemas.microsoft.com/office/drawing/2014/main" id="{1521E841-AF12-F8A4-0F22-F3D9680E632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21563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vikling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3134" y="2359798"/>
            <a:ext cx="4533908" cy="235449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17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/>
              <a:t>00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4012ADA4-FF9C-4A9A-9D47-9F7DF4E17A6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07042" y="2359797"/>
            <a:ext cx="3978593" cy="18499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z="1600"/>
              <a:t>Klikk for å redigere tekststiler i male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FCD7BF-3AB7-4429-8BC8-F8BC42C2A5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95E40C5A-6129-49F4-B4D2-D18CFE88C1D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6831A200-49F5-4645-BB55-B21422B4DD4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29F23ED3-8031-44D0-AF88-1C89758EB5A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696CEC71-F65A-43A1-962D-596ECDCFEFF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9D9EC0F-9854-4585-BE93-674C85878F1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72B513AD-BD82-49A5-8EDC-A9F4BDC63D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0BB6941E-7A67-4E07-AB3F-FA53A5938919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733491A0-C7E1-C067-0016-79DE61793D4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5421BED6-D13D-AB11-6CD7-A94EBD47E2A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88061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53E799FF-A7CB-461E-B019-32619A79E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9780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9780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6A5C2C-D005-4D6A-B53B-999FAD2B2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97807" y="2254021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8192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8192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44BEA80-896A-4A78-A6E8-C08CC90D84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1927" y="2254021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12058" y="4315621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12058" y="3889692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C51C625-F779-4CC0-B43C-69D91D5B9F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12058" y="2249259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54053" y="4325288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4053" y="3899359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4A5529C-9EF2-4C35-9351-C26E0DDC60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4053" y="2258926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49780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KON SETTES INN HER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98192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154053" y="2258926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12058" y="2249259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D004951B-E132-4CB5-BE08-014909997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6E501A22-635E-4E52-A781-CEFE3AAF9E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5" name="addin_colorbox" hidden="1">
            <a:extLst>
              <a:ext uri="{FF2B5EF4-FFF2-40B4-BE49-F238E27FC236}">
                <a16:creationId xmlns:a16="http://schemas.microsoft.com/office/drawing/2014/main" id="{C152D6E7-5ABD-462F-B484-D3C5A98E30C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6" name="addin_background" hidden="1">
            <a:extLst>
              <a:ext uri="{FF2B5EF4-FFF2-40B4-BE49-F238E27FC236}">
                <a16:creationId xmlns:a16="http://schemas.microsoft.com/office/drawing/2014/main" id="{E380263D-5A13-44BA-8F84-CE8D468BF3F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7" name="addin_logo" hidden="1">
            <a:extLst>
              <a:ext uri="{FF2B5EF4-FFF2-40B4-BE49-F238E27FC236}">
                <a16:creationId xmlns:a16="http://schemas.microsoft.com/office/drawing/2014/main" id="{A47615AF-2F92-48F5-9427-DB7CDFC14D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8" name="addin_title" hidden="1">
            <a:extLst>
              <a:ext uri="{FF2B5EF4-FFF2-40B4-BE49-F238E27FC236}">
                <a16:creationId xmlns:a16="http://schemas.microsoft.com/office/drawing/2014/main" id="{DE8F631C-E719-4912-BF9F-B8C23CA2B3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9" name="addin_text" hidden="1">
            <a:extLst>
              <a:ext uri="{FF2B5EF4-FFF2-40B4-BE49-F238E27FC236}">
                <a16:creationId xmlns:a16="http://schemas.microsoft.com/office/drawing/2014/main" id="{7FC205FB-165B-4339-88D1-EF192C650B2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618FCBB7-BF6F-0E87-4426-E93947CB23A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32" name="logo_hvit" hidden="1">
            <a:extLst>
              <a:ext uri="{FF2B5EF4-FFF2-40B4-BE49-F238E27FC236}">
                <a16:creationId xmlns:a16="http://schemas.microsoft.com/office/drawing/2014/main" id="{5A303B5D-C178-6E1F-4E54-C182932BFAE7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33194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73BE435-F82E-401E-BC8F-786DF65E16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42257" y="2161952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875DC22-FC29-439F-BE1C-C4CEEE74EF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0495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59238488-45B2-4EF9-9DCF-75A9D082AC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367444" y="2161952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12A2793-E8C0-4A44-AD6E-511C67CD47B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80970" y="2161952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EC5F670-0FCC-48B7-9C97-8A0ED134BF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92632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8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8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0495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0495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7444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7444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80970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80970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542257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450495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280970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367444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3F540DE3-195D-4E6B-A7AF-31B5DF60F73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192632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F891B1A-3BF6-4C12-A12A-239C8FCE033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192632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D5D28B2-0704-4803-A645-557CB31EE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92632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0EFE922-5D7E-4DE7-BDD3-B34758502B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8" name="addin_colorlist" hidden="1">
            <a:extLst>
              <a:ext uri="{FF2B5EF4-FFF2-40B4-BE49-F238E27FC236}">
                <a16:creationId xmlns:a16="http://schemas.microsoft.com/office/drawing/2014/main" id="{075E0F79-D570-480C-8DF3-E58C21E1F6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9" name="addin_colorbox" hidden="1">
            <a:extLst>
              <a:ext uri="{FF2B5EF4-FFF2-40B4-BE49-F238E27FC236}">
                <a16:creationId xmlns:a16="http://schemas.microsoft.com/office/drawing/2014/main" id="{67B923A1-1928-48F4-99F0-2BC992E26D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0" name="addin_background" hidden="1">
            <a:extLst>
              <a:ext uri="{FF2B5EF4-FFF2-40B4-BE49-F238E27FC236}">
                <a16:creationId xmlns:a16="http://schemas.microsoft.com/office/drawing/2014/main" id="{C8275DA9-4738-44F4-80E0-B95FD7F7669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1" name="addin_logo" hidden="1">
            <a:extLst>
              <a:ext uri="{FF2B5EF4-FFF2-40B4-BE49-F238E27FC236}">
                <a16:creationId xmlns:a16="http://schemas.microsoft.com/office/drawing/2014/main" id="{50E7F9FC-E5AD-43C9-9814-D45E18A0765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2" name="addin_title" hidden="1">
            <a:extLst>
              <a:ext uri="{FF2B5EF4-FFF2-40B4-BE49-F238E27FC236}">
                <a16:creationId xmlns:a16="http://schemas.microsoft.com/office/drawing/2014/main" id="{4E85F3F3-61FE-46B8-9DCC-8DF708F7EF3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43" name="addin_text" hidden="1">
            <a:extLst>
              <a:ext uri="{FF2B5EF4-FFF2-40B4-BE49-F238E27FC236}">
                <a16:creationId xmlns:a16="http://schemas.microsoft.com/office/drawing/2014/main" id="{CCB6333A-8809-4730-B12B-15E8A5FE96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503A4ED5-E3B9-3C35-4E74-1D137E33318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7" name="logo_hvit" hidden="1">
            <a:extLst>
              <a:ext uri="{FF2B5EF4-FFF2-40B4-BE49-F238E27FC236}">
                <a16:creationId xmlns:a16="http://schemas.microsoft.com/office/drawing/2014/main" id="{BD5B40E9-FB8E-6D34-D579-36F01627C644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50429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(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7C3D8B82-1186-4182-B0A5-AF811E03AAA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0279050-A64A-4B83-A905-1B3FC387D1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8625" y="1771827"/>
            <a:ext cx="895350" cy="872978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0D0A5540-DE13-4650-A761-05A3821451B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913F1418-8863-4CCE-A609-28E1F569F71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4062DE1-5A03-401B-828E-C09837CBE7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39050" y="0"/>
            <a:ext cx="4552950" cy="6858000"/>
          </a:xfrm>
          <a:solidFill>
            <a:srgbClr val="005AA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657939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7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7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657939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FDEC93C-B0F9-43F6-9A2B-43486128B15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13982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D64AEBB-F5C6-49BB-A8BD-743146A4CB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13982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52CFF93E-569D-485C-9953-C19AC5E3C45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542257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A6D454-40E4-4EA2-B644-EDCFBBCB62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42257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1A3C0572-03EF-4F24-A0B1-253B71A2C1F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13982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4A24DB8-42A3-44EC-A86F-652A8538749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13982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A96C8D-EA7E-4A1A-9503-66E8E35B8CE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369300" y="1098550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DC22F2-8CFA-49E4-A541-56C2672DA8B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69300" y="1605457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25147704-1371-462B-8BE0-901BF4C6B9A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369300" y="2882345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CCA3D76-ECCA-4308-8AF0-909FC8B26F8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369300" y="3389252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60A7792F-9090-4A87-8964-DF22B9449CE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69300" y="4922063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A80D731A-25DF-478D-9DD2-54A9511D84F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369300" y="5428970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D6001A3-F024-4A8E-B5CF-D1D78B3F4E4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FB244F5A-705A-48E8-927E-F279AC5F5FEC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866900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3A7F4820-EF59-4DD5-A97C-2CBCBA008F35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238625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98FC926-9B84-46D8-89CC-E751E9D26A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EE315A61-2E68-4EB9-B2F9-BDF0F31BDE53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866900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FAD39D5-056D-4EB9-8E8D-ACED66A3A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5" name="Content Placeholder 8">
            <a:extLst>
              <a:ext uri="{FF2B5EF4-FFF2-40B4-BE49-F238E27FC236}">
                <a16:creationId xmlns:a16="http://schemas.microsoft.com/office/drawing/2014/main" id="{769CDA1B-0410-4357-A97C-A7947A450081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4238625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1910E6F-A89F-470C-B8C5-2CA101D8EC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2" name="addin_colorlist" hidden="1">
            <a:extLst>
              <a:ext uri="{FF2B5EF4-FFF2-40B4-BE49-F238E27FC236}">
                <a16:creationId xmlns:a16="http://schemas.microsoft.com/office/drawing/2014/main" id="{2530AF2D-9963-4853-BC15-8D5711DC97A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45" name="addin_colorbox" hidden="1">
            <a:extLst>
              <a:ext uri="{FF2B5EF4-FFF2-40B4-BE49-F238E27FC236}">
                <a16:creationId xmlns:a16="http://schemas.microsoft.com/office/drawing/2014/main" id="{4647CBF0-028B-48BC-8377-8664458D9C7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6" name="addin_background" hidden="1">
            <a:extLst>
              <a:ext uri="{FF2B5EF4-FFF2-40B4-BE49-F238E27FC236}">
                <a16:creationId xmlns:a16="http://schemas.microsoft.com/office/drawing/2014/main" id="{A4BBCABF-1EAD-4EE4-9436-DCF1D62455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6" name="addin_logo" hidden="1">
            <a:extLst>
              <a:ext uri="{FF2B5EF4-FFF2-40B4-BE49-F238E27FC236}">
                <a16:creationId xmlns:a16="http://schemas.microsoft.com/office/drawing/2014/main" id="{53D5C84E-F74F-4DE1-B8BD-09B906AD98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57" name="addin_title" hidden="1">
            <a:extLst>
              <a:ext uri="{FF2B5EF4-FFF2-40B4-BE49-F238E27FC236}">
                <a16:creationId xmlns:a16="http://schemas.microsoft.com/office/drawing/2014/main" id="{6A4887B0-59E8-4459-A232-FBE56D3489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58" name="addin_text" hidden="1">
            <a:extLst>
              <a:ext uri="{FF2B5EF4-FFF2-40B4-BE49-F238E27FC236}">
                <a16:creationId xmlns:a16="http://schemas.microsoft.com/office/drawing/2014/main" id="{DFF3A27C-DEC0-4C13-A024-9CDA6FA62D2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59" name="DefLogoHvit" hidden="1">
            <a:extLst>
              <a:ext uri="{FF2B5EF4-FFF2-40B4-BE49-F238E27FC236}">
                <a16:creationId xmlns:a16="http://schemas.microsoft.com/office/drawing/2014/main" id="{E242F738-11B7-4699-ADA7-AD2F8082B21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A224A6B7-0913-DF19-09EC-FC1417840EBE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8" name="logo_hvit" hidden="1">
            <a:extLst>
              <a:ext uri="{FF2B5EF4-FFF2-40B4-BE49-F238E27FC236}">
                <a16:creationId xmlns:a16="http://schemas.microsoft.com/office/drawing/2014/main" id="{401544F1-67D4-285F-E0F3-625928ADA11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4946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, liten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D115F76-499E-4BA8-ACCD-A3E76104C3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8" y="3714716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  <a:solidFill>
            <a:srgbClr val="002776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041E85E-F425-444C-8552-A079AFFD57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9" y="3714715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3" name="logo_blaa" hidden="1">
            <a:extLst>
              <a:ext uri="{FF2B5EF4-FFF2-40B4-BE49-F238E27FC236}">
                <a16:creationId xmlns:a16="http://schemas.microsoft.com/office/drawing/2014/main" id="{D843D409-5F5A-7D2B-57EA-877BFCED92D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9CF6B375-05CB-873B-F66C-70234CE80CB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0390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09692" y="1238672"/>
            <a:ext cx="5242508" cy="5242256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242492" y="566738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spcBef>
                <a:spcPts val="1800"/>
              </a:spcBef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C83D3ED5-C123-48D8-BF8E-0476E8596C82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02A992B5-F485-45DA-B617-5194C3E6D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28E5F674-4C79-44C3-8673-EC472B0189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FF9BE07-6D50-4E95-ABFB-67A93A07F5A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42044" y="5886736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18F87034-0D47-8F1F-CEE8-C1C8E20576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3199" y="391996"/>
            <a:ext cx="3269209" cy="6088932"/>
          </a:xfrm>
          <a:custGeom>
            <a:avLst/>
            <a:gdLst>
              <a:gd name="connsiteX0" fmla="*/ 0 w 3269209"/>
              <a:gd name="connsiteY0" fmla="*/ 0 h 6088932"/>
              <a:gd name="connsiteX1" fmla="*/ 3269209 w 3269209"/>
              <a:gd name="connsiteY1" fmla="*/ 0 h 6088932"/>
              <a:gd name="connsiteX2" fmla="*/ 3269209 w 3269209"/>
              <a:gd name="connsiteY2" fmla="*/ 5517061 h 6088932"/>
              <a:gd name="connsiteX3" fmla="*/ 3206085 w 3269209"/>
              <a:gd name="connsiteY3" fmla="*/ 5568207 h 6088932"/>
              <a:gd name="connsiteX4" fmla="*/ 1637747 w 3269209"/>
              <a:gd name="connsiteY4" fmla="*/ 6088932 h 6088932"/>
              <a:gd name="connsiteX5" fmla="*/ 69409 w 3269209"/>
              <a:gd name="connsiteY5" fmla="*/ 5568207 h 6088932"/>
              <a:gd name="connsiteX6" fmla="*/ 0 w 3269209"/>
              <a:gd name="connsiteY6" fmla="*/ 5511969 h 6088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9209" h="6088932">
                <a:moveTo>
                  <a:pt x="0" y="0"/>
                </a:moveTo>
                <a:lnTo>
                  <a:pt x="3269209" y="0"/>
                </a:lnTo>
                <a:lnTo>
                  <a:pt x="3269209" y="5517061"/>
                </a:lnTo>
                <a:lnTo>
                  <a:pt x="3206085" y="5568207"/>
                </a:lnTo>
                <a:cubicBezTo>
                  <a:pt x="2768748" y="5895256"/>
                  <a:pt x="2225867" y="6088932"/>
                  <a:pt x="1637747" y="6088932"/>
                </a:cubicBezTo>
                <a:cubicBezTo>
                  <a:pt x="1049628" y="6088932"/>
                  <a:pt x="506746" y="5895256"/>
                  <a:pt x="69409" y="5568207"/>
                </a:cubicBezTo>
                <a:lnTo>
                  <a:pt x="0" y="5511969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-5460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10A5A560-B904-924F-A656-0B39569530C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52C15237-4B2D-47DF-0A00-1E0AB303E8D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6891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Neste sid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1667" y="609539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F69524D-9849-A312-A21E-D4A681D7DF1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2374" y="434797"/>
            <a:ext cx="3269209" cy="6091313"/>
          </a:xfrm>
          <a:custGeom>
            <a:avLst/>
            <a:gdLst>
              <a:gd name="connsiteX0" fmla="*/ 0 w 3269209"/>
              <a:gd name="connsiteY0" fmla="*/ 0 h 6091313"/>
              <a:gd name="connsiteX1" fmla="*/ 3269209 w 3269209"/>
              <a:gd name="connsiteY1" fmla="*/ 0 h 6091313"/>
              <a:gd name="connsiteX2" fmla="*/ 3269209 w 3269209"/>
              <a:gd name="connsiteY2" fmla="*/ 5515889 h 6091313"/>
              <a:gd name="connsiteX3" fmla="*/ 3155159 w 3269209"/>
              <a:gd name="connsiteY3" fmla="*/ 5607729 h 6091313"/>
              <a:gd name="connsiteX4" fmla="*/ 1637747 w 3269209"/>
              <a:gd name="connsiteY4" fmla="*/ 6091313 h 6091313"/>
              <a:gd name="connsiteX5" fmla="*/ 56823 w 3269209"/>
              <a:gd name="connsiteY5" fmla="*/ 5561117 h 6091313"/>
              <a:gd name="connsiteX6" fmla="*/ 0 w 3269209"/>
              <a:gd name="connsiteY6" fmla="*/ 5513941 h 6091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9209" h="6091313">
                <a:moveTo>
                  <a:pt x="0" y="0"/>
                </a:moveTo>
                <a:lnTo>
                  <a:pt x="3269209" y="0"/>
                </a:lnTo>
                <a:lnTo>
                  <a:pt x="3269209" y="5515889"/>
                </a:lnTo>
                <a:lnTo>
                  <a:pt x="3155159" y="5607729"/>
                </a:lnTo>
                <a:cubicBezTo>
                  <a:pt x="2726922" y="5912248"/>
                  <a:pt x="2203247" y="6091313"/>
                  <a:pt x="1637747" y="6091313"/>
                </a:cubicBezTo>
                <a:cubicBezTo>
                  <a:pt x="1043973" y="6091313"/>
                  <a:pt x="496310" y="5893894"/>
                  <a:pt x="56823" y="5561117"/>
                </a:cubicBezTo>
                <a:lnTo>
                  <a:pt x="0" y="5513941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31" b="-5449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DA2EDFEE-A606-400C-BA08-036FC2EA105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46790DC6-47E5-E247-6FD5-FF432DDA671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BBC47DC1-8E8A-01A2-87A0-1D604094877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8510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22" name="Circle 2">
            <a:extLst>
              <a:ext uri="{FF2B5EF4-FFF2-40B4-BE49-F238E27FC236}">
                <a16:creationId xmlns:a16="http://schemas.microsoft.com/office/drawing/2014/main" id="{643EB9AF-85D6-452D-8D92-900AFF59F2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35075" y="1303425"/>
            <a:ext cx="5019194" cy="5019194"/>
          </a:xfrm>
          <a:prstGeom prst="rect">
            <a:avLst/>
          </a:prstGeom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1557912" y="3841396"/>
            <a:ext cx="4211870" cy="237681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D2883-1DBB-4A89-BE2A-3AB6A6803E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6677" y="3408539"/>
            <a:ext cx="4968936" cy="4090061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39E3FD77-CA8B-73BE-DE5C-6596741D3F07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5E455065-AC69-AB44-38DF-56E33C9AC96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1539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8" dur="20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B0CE27-C394-4607-98BB-7BA11CE74F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095499">
            <a:off x="7470934" y="2251972"/>
            <a:ext cx="2477110" cy="5326551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20087460">
            <a:off x="7250598" y="2087988"/>
            <a:ext cx="2902052" cy="563668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Picture Placeholder 31">
            <a:extLst>
              <a:ext uri="{FF2B5EF4-FFF2-40B4-BE49-F238E27FC236}">
                <a16:creationId xmlns:a16="http://schemas.microsoft.com/office/drawing/2014/main" id="{81C825AF-C1C5-44BB-9F0A-1E28516D9E1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 rot="20095499">
            <a:off x="11413087" y="3189250"/>
            <a:ext cx="2480710" cy="532137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6" name="Text Placeholder 64">
            <a:extLst>
              <a:ext uri="{FF2B5EF4-FFF2-40B4-BE49-F238E27FC236}">
                <a16:creationId xmlns:a16="http://schemas.microsoft.com/office/drawing/2014/main" id="{8001664F-BDA3-427D-9F79-FBB525E0DF0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20087460">
            <a:off x="11194429" y="3019296"/>
            <a:ext cx="2902052" cy="563668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9E04B0B-6D10-4EC9-BB96-507F599A1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2667000" cy="56075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CE2E70CC-8AA4-234E-66EE-F3AA514BEC3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7EE78E22-7289-2F89-3CD8-4CB1AB0D51D2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617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-0.0625 -0.238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8" dur="2000" fill="hold"/>
                                        <p:tgtEl>
                                          <p:spTgt spid="6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0" dur="20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7.40741E-7 L -0.0625 -0.2388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4" dur="2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8" dur="2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65" grpId="0" uiExpand="1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8" grpId="0"/>
      <p:bldP spid="26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click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4A80CED5-AB6B-4994-B3E6-B97FBE16A8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EDD01A2-4366-4D2C-A0E7-B1B95B71D0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4477" y="1750446"/>
            <a:ext cx="5995752" cy="493526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Picture Placeholder 31">
            <a:extLst>
              <a:ext uri="{FF2B5EF4-FFF2-40B4-BE49-F238E27FC236}">
                <a16:creationId xmlns:a16="http://schemas.microsoft.com/office/drawing/2014/main" id="{26E0B4AE-3913-4C0F-A569-2625D1C2CE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7230274" y="2275124"/>
            <a:ext cx="5097572" cy="288216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7622D3-E2C3-498F-9799-B2CB374E63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25569" y="5636682"/>
            <a:ext cx="3947160" cy="646518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CB4E4-C2B8-4505-B3B2-E7A16D1D597F}"/>
              </a:ext>
            </a:extLst>
          </p:cNvPr>
          <p:cNvSpPr txBox="1"/>
          <p:nvPr userDrawn="1"/>
        </p:nvSpPr>
        <p:spPr>
          <a:xfrm>
            <a:off x="6821714" y="244565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B9D396-4FA5-4E05-AA33-A3B2F34FDFD0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5075B-279A-49F7-9EF7-C440206021BF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69F34-0256-46BB-95B6-72F3160484E5}"/>
              </a:ext>
            </a:extLst>
          </p:cNvPr>
          <p:cNvSpPr txBox="1"/>
          <p:nvPr userDrawn="1"/>
        </p:nvSpPr>
        <p:spPr>
          <a:xfrm>
            <a:off x="5054535" y="-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5798462A-FDC9-4067-81E1-BA3C406CDC5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FC67F927-EB9F-E3A9-97A0-1C202C743193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29" name="logo_hvit" hidden="1">
            <a:extLst>
              <a:ext uri="{FF2B5EF4-FFF2-40B4-BE49-F238E27FC236}">
                <a16:creationId xmlns:a16="http://schemas.microsoft.com/office/drawing/2014/main" id="{F79D8B25-FDC9-CBA1-62A7-C6828D56B6ED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065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6" dur="2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8" dur="2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-0.03437 -0.1416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-70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789 0.17593 L 4.58333E-6 -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4" y="-905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383 0.10393 L 0.24388 0.2006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3" y="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4" grpId="0"/>
      <p:bldP spid="3" grpId="0" uiExpand="1" build="p" animBg="1">
        <p:tmplLst>
          <p:tmpl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08789 0.17593 L 4.58333E-6 -1.48148E-6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4284" y="-9051"/>
                    </p:animMotion>
                  </p:childTnLst>
                </p:cTn>
              </p:par>
            </p:tnLst>
          </p:tmpl>
          <p:tmpl lvl="1"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7383 0.10393 L 0.24388 0.20069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503" y="4838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3D015-6959-4408-9BF2-878E984CDA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7625" y="0"/>
            <a:ext cx="7064375" cy="6858000"/>
          </a:xfrm>
          <a:solidFill>
            <a:srgbClr val="00103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92E13-E931-494C-96DF-4A2421B6F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81497" y="4038600"/>
            <a:ext cx="7810497" cy="2819400"/>
          </a:xfrm>
          <a:custGeom>
            <a:avLst/>
            <a:gdLst>
              <a:gd name="connsiteX0" fmla="*/ 6007097 w 7810497"/>
              <a:gd name="connsiteY0" fmla="*/ 0 h 2819400"/>
              <a:gd name="connsiteX1" fmla="*/ 0 w 7810497"/>
              <a:gd name="connsiteY1" fmla="*/ 0 h 2819400"/>
              <a:gd name="connsiteX2" fmla="*/ 0 w 7810497"/>
              <a:gd name="connsiteY2" fmla="*/ 2819400 h 2819400"/>
              <a:gd name="connsiteX3" fmla="*/ 7810497 w 7810497"/>
              <a:gd name="connsiteY3" fmla="*/ 2819400 h 2819400"/>
              <a:gd name="connsiteX4" fmla="*/ 7810497 w 7810497"/>
              <a:gd name="connsiteY4" fmla="*/ 1803400 h 2819400"/>
              <a:gd name="connsiteX5" fmla="*/ 6007097 w 7810497"/>
              <a:gd name="connsiteY5" fmla="*/ 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10497" h="2819400">
                <a:moveTo>
                  <a:pt x="6007097" y="0"/>
                </a:moveTo>
                <a:lnTo>
                  <a:pt x="0" y="0"/>
                </a:lnTo>
                <a:lnTo>
                  <a:pt x="0" y="2819400"/>
                </a:lnTo>
                <a:lnTo>
                  <a:pt x="7810497" y="2819400"/>
                </a:lnTo>
                <a:lnTo>
                  <a:pt x="7810497" y="1803400"/>
                </a:lnTo>
                <a:cubicBezTo>
                  <a:pt x="7810497" y="807410"/>
                  <a:pt x="7003087" y="0"/>
                  <a:pt x="6007097" y="0"/>
                </a:cubicBezTo>
                <a:close/>
              </a:path>
            </a:pathLst>
          </a:custGeom>
          <a:solidFill>
            <a:srgbClr val="C3C2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ACC01-A937-4271-A7CA-BDC2D6D394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264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264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828245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82903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7A88A4F-5ACA-4E7F-97B6-8D5BFDDB03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2480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199A3D1D-B068-40B9-94DE-750DA43F6A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2480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F12E05B-349E-468D-89CE-BFB1E0530A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28236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8ED6D48-CFEA-4D2F-80DC-CBDA51FDD9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28236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91AA2C9-234E-4CCE-ABF3-86C69A1A9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24" y="2249281"/>
            <a:ext cx="3438925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300">
                <a:solidFill>
                  <a:srgbClr val="00207D"/>
                </a:solidFill>
              </a:defRPr>
            </a:lvl2pPr>
            <a:lvl3pPr>
              <a:defRPr sz="1200">
                <a:solidFill>
                  <a:srgbClr val="00207D"/>
                </a:solidFill>
              </a:defRPr>
            </a:lvl3pPr>
            <a:lvl4pPr>
              <a:defRPr sz="1100">
                <a:solidFill>
                  <a:srgbClr val="00207D"/>
                </a:solidFill>
              </a:defRPr>
            </a:lvl4pPr>
            <a:lvl5pPr>
              <a:defRPr sz="10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465B5-E891-45FD-B2CD-F7832BDB64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B652CA5B-091A-4E89-9203-486E5C39F48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A2D3D61E-049A-48E0-9986-95DEF9C8F2B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122DD4A3-2094-47A6-87DB-03D72FCE8FB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9" name="addin_logo" hidden="1">
            <a:extLst>
              <a:ext uri="{FF2B5EF4-FFF2-40B4-BE49-F238E27FC236}">
                <a16:creationId xmlns:a16="http://schemas.microsoft.com/office/drawing/2014/main" id="{F2DDBE38-7E8E-4049-B6C7-D0729F6C696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title" hidden="1">
            <a:extLst>
              <a:ext uri="{FF2B5EF4-FFF2-40B4-BE49-F238E27FC236}">
                <a16:creationId xmlns:a16="http://schemas.microsoft.com/office/drawing/2014/main" id="{87107F74-6EEF-4C55-B579-31D86AEE85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1" name="addin_text" hidden="1">
            <a:extLst>
              <a:ext uri="{FF2B5EF4-FFF2-40B4-BE49-F238E27FC236}">
                <a16:creationId xmlns:a16="http://schemas.microsoft.com/office/drawing/2014/main" id="{1CC0094A-8549-4644-B35B-BC8DAAA1AAB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471DCF94-BF4E-1E30-9345-9DB775A184B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3" name="logo_hvit" hidden="1">
            <a:extLst>
              <a:ext uri="{FF2B5EF4-FFF2-40B4-BE49-F238E27FC236}">
                <a16:creationId xmlns:a16="http://schemas.microsoft.com/office/drawing/2014/main" id="{D49A008F-C23A-7BFB-616A-61C7D73A069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2018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)">
    <p:bg>
      <p:bgPr>
        <a:solidFill>
          <a:srgbClr val="CECE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C455073B-9561-4C18-AE0B-2DBE98389C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96000" y="1720850"/>
            <a:ext cx="6096000" cy="5137150"/>
          </a:xfr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AEB2CF0-BD35-47EE-A838-C4F6293D9F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7429500" y="-1333500"/>
            <a:ext cx="3429000" cy="6096000"/>
          </a:xfrm>
          <a:prstGeom prst="round1Rect">
            <a:avLst>
              <a:gd name="adj" fmla="val 38889"/>
            </a:avLst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3429000"/>
            <a:ext cx="6096000" cy="3429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30D4A27-CB15-4024-A7B2-B0A0FBB527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6096000" cy="3429000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1600" y="3772800"/>
            <a:ext cx="556597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  <a:solidFill>
            <a:srgbClr val="0000FE">
              <a:alpha val="0"/>
            </a:srgbClr>
          </a:solidFill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253810" cy="430887"/>
          </a:xfrm>
          <a:solidFill>
            <a:srgbClr val="0000FE">
              <a:alpha val="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3579248" y="1073070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D8D130-C5B1-450A-822A-5F08E950A7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9600" y="1846800"/>
            <a:ext cx="2713758" cy="1241425"/>
          </a:xfrm>
        </p:spPr>
        <p:txBody>
          <a:bodyPr/>
          <a:lstStyle>
            <a:lvl1pPr marL="0" indent="0">
              <a:buNone/>
              <a:defRPr sz="10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3772800"/>
            <a:ext cx="4660900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5B7438E-AE75-4FF7-BC5E-B7C2C0CE59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A4BDD34D-E03D-4646-867F-0721BEFA75DC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1, firefarg2</a:t>
            </a:r>
          </a:p>
        </p:txBody>
      </p:sp>
      <p:sp>
        <p:nvSpPr>
          <p:cNvPr id="29" name="addin_colorbox" hidden="1">
            <a:extLst>
              <a:ext uri="{FF2B5EF4-FFF2-40B4-BE49-F238E27FC236}">
                <a16:creationId xmlns:a16="http://schemas.microsoft.com/office/drawing/2014/main" id="{9E04BAB5-E565-4580-A95D-A8DBBBA206C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0" name="addin_background" hidden="1">
            <a:extLst>
              <a:ext uri="{FF2B5EF4-FFF2-40B4-BE49-F238E27FC236}">
                <a16:creationId xmlns:a16="http://schemas.microsoft.com/office/drawing/2014/main" id="{20312245-3B2C-45E0-A41F-9880DECB8AA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1" name="addin_logo" hidden="1">
            <a:extLst>
              <a:ext uri="{FF2B5EF4-FFF2-40B4-BE49-F238E27FC236}">
                <a16:creationId xmlns:a16="http://schemas.microsoft.com/office/drawing/2014/main" id="{0555D013-45BB-4434-BCD4-CA50C4FDF50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title" hidden="1">
            <a:extLst>
              <a:ext uri="{FF2B5EF4-FFF2-40B4-BE49-F238E27FC236}">
                <a16:creationId xmlns:a16="http://schemas.microsoft.com/office/drawing/2014/main" id="{3293E258-4BAB-4E3E-B382-2BF51368333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3" name="addin_text" hidden="1">
            <a:extLst>
              <a:ext uri="{FF2B5EF4-FFF2-40B4-BE49-F238E27FC236}">
                <a16:creationId xmlns:a16="http://schemas.microsoft.com/office/drawing/2014/main" id="{F306448A-BC82-40F1-B842-B6DB578BF4F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4" name="addin_spestext" hidden="1">
            <a:extLst>
              <a:ext uri="{FF2B5EF4-FFF2-40B4-BE49-F238E27FC236}">
                <a16:creationId xmlns:a16="http://schemas.microsoft.com/office/drawing/2014/main" id="{28414EB4-7508-47EB-8178-87FDD9A0F47B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E3844F34-BF24-4DE8-8F36-35D26CD26D68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CBF3C7C-55B9-484F-8323-BAF8BDA704CE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06FD54A-FD2A-49F0-83FB-443C74F64F15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8FD9630B-D6BC-493A-BBE8-569F372E8290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31A0D69A-9581-4EBF-B323-5DB0479996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4194000"/>
            <a:ext cx="4660899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EC8A8337-24E7-481A-8588-D5597050FC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11600" y="4194000"/>
            <a:ext cx="5565974" cy="78556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5F335A74-0045-4431-93C5-38BA94BA92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291600" y="910800"/>
            <a:ext cx="2685974" cy="48487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F2E3C415-1801-83D0-A6A4-E071917A6CF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5" name="logo_hvit" hidden="1">
            <a:extLst>
              <a:ext uri="{FF2B5EF4-FFF2-40B4-BE49-F238E27FC236}">
                <a16:creationId xmlns:a16="http://schemas.microsoft.com/office/drawing/2014/main" id="{FCA7D0C1-E943-1D84-FB7B-D3997B317B2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5117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, 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2F04CD96-D11A-4B44-912B-ADD88AA349C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0108" y="2411834"/>
            <a:ext cx="4077730" cy="4446166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700E0BD-BA45-4A7E-A9CC-E715CDB8E7C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7730" y="0"/>
            <a:ext cx="4036542" cy="431616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4400294" y="3144021"/>
            <a:ext cx="3397251" cy="4030705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60C567-3FD3-4899-98EB-BA303D6775D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422761" y="-308490"/>
            <a:ext cx="3460748" cy="4077730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CECDE7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0"/>
            <a:ext cx="4083566" cy="6858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06959" y="4114895"/>
            <a:ext cx="3080679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9182117" y="4069602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1228528"/>
            <a:ext cx="3253812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7576959-282F-48A7-93E6-CDC621CBB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72509" y="167205"/>
            <a:ext cx="350506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77FC5C6-3FFB-4293-812F-50F87293B3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DE7A0B9B-A159-4769-AA7E-43F8A26DEAA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3, firefarg4</a:t>
            </a:r>
          </a:p>
        </p:txBody>
      </p:sp>
      <p:sp>
        <p:nvSpPr>
          <p:cNvPr id="28" name="addin_colorbox" hidden="1">
            <a:extLst>
              <a:ext uri="{FF2B5EF4-FFF2-40B4-BE49-F238E27FC236}">
                <a16:creationId xmlns:a16="http://schemas.microsoft.com/office/drawing/2014/main" id="{A723CA78-23AE-48CA-B30D-BC65F7A9A3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background" hidden="1">
            <a:extLst>
              <a:ext uri="{FF2B5EF4-FFF2-40B4-BE49-F238E27FC236}">
                <a16:creationId xmlns:a16="http://schemas.microsoft.com/office/drawing/2014/main" id="{FDB0DF5E-1B59-4D22-8E8C-0E8E2795D31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CC87C9FE-39EB-4A6D-868B-7B8E1B4B3B1C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title" hidden="1">
            <a:extLst>
              <a:ext uri="{FF2B5EF4-FFF2-40B4-BE49-F238E27FC236}">
                <a16:creationId xmlns:a16="http://schemas.microsoft.com/office/drawing/2014/main" id="{2147B6EF-8E5B-42EE-B44C-8A50E0911D9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4" name="addin_text" hidden="1">
            <a:extLst>
              <a:ext uri="{FF2B5EF4-FFF2-40B4-BE49-F238E27FC236}">
                <a16:creationId xmlns:a16="http://schemas.microsoft.com/office/drawing/2014/main" id="{F117A96B-03C2-43F0-BDD8-8161858E432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6" name="addin_image" hidden="1">
            <a:extLst>
              <a:ext uri="{FF2B5EF4-FFF2-40B4-BE49-F238E27FC236}">
                <a16:creationId xmlns:a16="http://schemas.microsoft.com/office/drawing/2014/main" id="{870B3DFC-356E-466E-A04C-39E936E6E326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D39FA83-C4E7-4637-ABFB-525099A04B9B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A7530B15-9197-446D-BAD0-B354241C94F9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12CFCD8F-01FE-4654-871C-7FF1504A9466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73D33CA6-FE73-4DD0-A18B-77AA905F72DD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2CE2E79D-4BE6-4DCF-BE36-0B43C13C47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1695722"/>
            <a:ext cx="3253811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8AE6BBE8-A093-48FC-8519-587B0A829E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472510" y="603919"/>
            <a:ext cx="3505064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CD107A-6138-4458-8580-DDA462984F8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06960" y="4551609"/>
            <a:ext cx="3080680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F35FF08F-8155-DEC5-63B3-B7FC68005C6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5" name="logo_hvit" hidden="1">
            <a:extLst>
              <a:ext uri="{FF2B5EF4-FFF2-40B4-BE49-F238E27FC236}">
                <a16:creationId xmlns:a16="http://schemas.microsoft.com/office/drawing/2014/main" id="{5FC47703-B3EF-71ED-5B37-50F3A22D4EE2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88895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5270105" y="-63898"/>
            <a:ext cx="4292600" cy="9551195"/>
          </a:xfrm>
          <a:prstGeom prst="round1Rect">
            <a:avLst>
              <a:gd name="adj" fmla="val 43590"/>
            </a:avLst>
          </a:pr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73029" y="634781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73029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328" y="407521"/>
            <a:ext cx="6746085" cy="1284754"/>
          </a:xfrm>
        </p:spPr>
        <p:txBody>
          <a:bodyPr anchor="ctr"/>
          <a:lstStyle>
            <a:lvl1pPr>
              <a:lnSpc>
                <a:spcPct val="90000"/>
              </a:lnSpc>
              <a:defRPr sz="10000"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68846015-2A3B-446D-A0B8-D29C61C01F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63755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B9BD4B98-07E6-4F80-AF51-2316CD968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3755" y="6347818"/>
            <a:ext cx="1846659" cy="15388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9BF6C8A6-65BE-42D3-BEB6-7005D686B5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0800000">
            <a:off x="7561943" y="0"/>
            <a:ext cx="4630057" cy="6858001"/>
          </a:xfrm>
          <a:prstGeom prst="round1Rect">
            <a:avLst>
              <a:gd name="adj" fmla="val 47979"/>
            </a:avLst>
          </a:prstGeom>
          <a:solidFill>
            <a:srgbClr val="00579E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6F1FE8-28E4-4C92-9D93-7B8DCD67097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1BD38ED4-B725-4AAB-9487-255EBB7049C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ste1, siste2, siste3, siste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6F4D908F-B453-4F18-BE82-ACB5B2DA82B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FC09F4C-2DCB-4C69-9F83-FBEF8B9EA1E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052BDCAC-5BC9-42C5-8C89-4398E2F45DA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305CCF73-19C7-4C9B-893D-1D0A7E0B1B9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03A08D40-C143-4FDB-834C-4EDCBBAB098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spestext" hidden="1">
            <a:extLst>
              <a:ext uri="{FF2B5EF4-FFF2-40B4-BE49-F238E27FC236}">
                <a16:creationId xmlns:a16="http://schemas.microsoft.com/office/drawing/2014/main" id="{282BCBC8-4FEA-4F9A-A003-2C640A6FBC6E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7286-2074-4AB7-850D-1D7DDD1937D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8608" y="6115219"/>
            <a:ext cx="1640683" cy="46166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z="1000" dirty="0">
                <a:solidFill>
                  <a:srgbClr val="00207D"/>
                </a:solidFill>
              </a:rPr>
              <a:t>Sparebank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Facebook.com/sb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@sb1ostlandet</a:t>
            </a:r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2DB8AE09-CD4A-45F7-950C-8FF439D201A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0" name="logo_blaa" hidden="1">
            <a:extLst>
              <a:ext uri="{FF2B5EF4-FFF2-40B4-BE49-F238E27FC236}">
                <a16:creationId xmlns:a16="http://schemas.microsoft.com/office/drawing/2014/main" id="{79542761-90B2-F859-3431-9D5907CF652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E83FA558-EDDE-9015-E190-3C34B371313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30191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D75FC5D-6F55-45E1-BA2B-4AD0149F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B5EFC96-E4EE-4FE8-B92E-AF05CED0CD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93031825-807F-472B-AF88-ED6DD1CD310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4F1E6E-F1BA-4219-A7A6-F50B1C2A1EE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DC5899DE-05C4-455E-9646-5E8813CF710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2" name="addin_logo" hidden="1">
            <a:extLst>
              <a:ext uri="{FF2B5EF4-FFF2-40B4-BE49-F238E27FC236}">
                <a16:creationId xmlns:a16="http://schemas.microsoft.com/office/drawing/2014/main" id="{BACC81DC-258C-49C1-8853-1FE54172C6A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087211ED-582A-466E-942B-54ECB00D05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81C5F396-DEF8-49C6-8C44-EC521A266BB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25FCC80E-685C-B4DE-C619-BB4070F2D84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2E7865DA-E945-9917-4E3E-74E41D82FA6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8715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B906783-82F7-4F06-A909-92414CF278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372FE5E-CAA5-4EE3-813D-053EE9B99F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E1AB944-55F7-447E-B1B0-7777CEB8144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3C3E6D96-3091-423E-B530-6AA7F835351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865A7262-53CB-411A-B2DD-5D7B0999607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4363F96A-DC31-41C7-A2CA-C1A3F458F8B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CE2A7C8C-4183-49E0-A81F-A87C95D40E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17877C-C149-4333-893F-07266CF802A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139D70A2-5F98-4E2C-B189-EE2B4FDCCAD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D390523-127C-4A96-AEC0-9D4C14B03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3041F739-C6C8-45A7-9C0D-685B68A2F2D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E16B7E-1832-4A1C-881A-B121241BBC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8EAF9D98-E897-5F69-9BF6-F218A18DBC1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BE9C081D-2113-E9F0-3BB1-89F2CEBF25ED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77531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95002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10B15B95-7E4F-49BD-86F8-CD48FDE599A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7" name="addin_colorbox" hidden="1">
            <a:extLst>
              <a:ext uri="{FF2B5EF4-FFF2-40B4-BE49-F238E27FC236}">
                <a16:creationId xmlns:a16="http://schemas.microsoft.com/office/drawing/2014/main" id="{60F511CE-520D-4D58-978B-A742962CBB1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8309DFEF-9575-4318-B437-CBFF2E4AF83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67036A9A-33C9-40AC-910B-E05856E9B2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09D6E0DE-92FA-4CF9-95A6-8B562FF54A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CFE1FC6-4BD8-45F8-B934-22BCC395D00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6A144EF-35F3-4471-82EB-B8135768E0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7" name="logo_blaa" hidden="1">
            <a:extLst>
              <a:ext uri="{FF2B5EF4-FFF2-40B4-BE49-F238E27FC236}">
                <a16:creationId xmlns:a16="http://schemas.microsoft.com/office/drawing/2014/main" id="{5869B4F6-7ED2-7F14-0E31-50C4DA9E83F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0" name="logo_hvit" hidden="1">
            <a:extLst>
              <a:ext uri="{FF2B5EF4-FFF2-40B4-BE49-F238E27FC236}">
                <a16:creationId xmlns:a16="http://schemas.microsoft.com/office/drawing/2014/main" id="{EA913E8A-8832-526F-A87C-566FB9B7312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70887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Levende bakgrunn 1" descr="Levende bakgrunn 1">
            <a:hlinkClick r:id="" action="ppaction://media"/>
            <a:extLst>
              <a:ext uri="{FF2B5EF4-FFF2-40B4-BE49-F238E27FC236}">
                <a16:creationId xmlns:a16="http://schemas.microsoft.com/office/drawing/2014/main" id="{902AFA99-DB3C-4EA2-8EB5-150A887A50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BDB705D4-301E-4A9A-B0CA-85132C564A97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0CC3C0F5-E759-5D56-B6B8-5204F13ACD06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89EF94E3-E245-91CF-FC24-005796E13134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155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37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</p:childTnLst>
        </p:cTn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Levende bakgrunn 3_loop" descr="Levende bakgrunn 3_loop">
            <a:hlinkClick r:id="" action="ppaction://media"/>
            <a:extLst>
              <a:ext uri="{FF2B5EF4-FFF2-40B4-BE49-F238E27FC236}">
                <a16:creationId xmlns:a16="http://schemas.microsoft.com/office/drawing/2014/main" id="{172DB947-6D78-4E6D-8CC2-57FA8919CB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0D3377DC-53D1-545E-D03A-8F164B45A956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480537BE-4581-6724-E97D-9A8407A65DDD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237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042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Én klar tale_Small">
            <a:hlinkClick r:id="" action="ppaction://media"/>
            <a:extLst>
              <a:ext uri="{FF2B5EF4-FFF2-40B4-BE49-F238E27FC236}">
                <a16:creationId xmlns:a16="http://schemas.microsoft.com/office/drawing/2014/main" id="{C4E7F5B9-7211-4D5E-9660-E42C89413EB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D35D85C2-DD28-A572-90CE-34B48B8F0CE5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65BE294F-839D-3734-A4A7-530FCE1F3BB5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60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4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Skape rom_Small">
            <a:hlinkClick r:id="" action="ppaction://media"/>
            <a:extLst>
              <a:ext uri="{FF2B5EF4-FFF2-40B4-BE49-F238E27FC236}">
                <a16:creationId xmlns:a16="http://schemas.microsoft.com/office/drawing/2014/main" id="{3334B1F6-4488-4769-89A9-8DE1F485628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80888" cy="6858000"/>
          </a:xfrm>
          <a:prstGeom prst="rect">
            <a:avLst/>
          </a:prstGeom>
        </p:spPr>
      </p:pic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40797967-F269-7DB7-8731-DD86C578A4CB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86FCE51D-DD7F-6D83-7CD6-26D94477118E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757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Sammen">
            <a:hlinkClick r:id="" action="ppaction://media"/>
            <a:extLst>
              <a:ext uri="{FF2B5EF4-FFF2-40B4-BE49-F238E27FC236}">
                <a16:creationId xmlns:a16="http://schemas.microsoft.com/office/drawing/2014/main" id="{E615C148-FB3A-4F63-88D8-B13C677070D5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DDB05180-02BF-FB0B-702E-E2E421BAB064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57490FDF-D0E7-DE0E-4692-79CBBA20F361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82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96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Høyre) 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D26DCF0-7676-47A4-8E76-C67AEF8C71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9902AC6-0866-4866-BEB8-3EF36AE083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86E4A578-2604-4EF1-A112-B6EEBB1650D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53BD8B14-1016-4228-ABB8-79ED792B2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9D41E301-6567-4BD4-9BF8-E8D9532FBFF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BE22B59-58E2-4A77-A9D7-CC7F38F62F49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4E36FD8-70FB-44F5-8C26-61B5CE08134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D79908-CF76-4F3E-A9EC-C9C524CEFC5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A2CF66BD-25DA-4FF6-9589-251CB8ECC8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4914B5D-5A23-45A9-B953-59A3D98B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A9A38E28-BCBE-41B5-9F74-A416D15CB715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013F9-6889-481B-A280-1985D2203EE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DB38CC73-68FA-8481-A6D1-49081F22BCA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DFD1C890-A69A-9E11-DC41-D1BC322750DA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0883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Bak)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EBDE9C1-A6AF-42BB-AD3E-EC5033DF7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881F7AB-121D-483A-BEEB-047633213E2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1F051DA2-02ED-4843-9F7B-A5F1B5FA1D4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37967A0-F11A-4DEB-8752-F51E6C30160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0BCBC18E-CFC3-4CBA-A77B-FCEE20A0D0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DAE9B024-9850-4644-969C-845FA2224C3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4C82FF42-4159-46F4-9A84-97CFCB2094A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A9A00501-7D4B-4A4A-9C7E-528975384D02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7EA08099-CF4B-47D5-AE1A-473F68B466A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AA4D9630-C8F5-21ED-7C9D-99F911415EA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3B5441C8-7EB6-C2CE-C34E-5DAF75B2DF7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365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5AB121-B777-4009-80C1-75B8761B0C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138087C-6F4A-4D28-8FDF-F085F699A2C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6706D5D-D638-4DB1-9AC8-CD8309B275C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06DEFD4A-FB2F-46A7-8EFB-9873F806D4F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5848A094-42A0-4FA4-B133-A3B7A7B39B0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15ECCDD0-B9DF-490B-8070-810E4261072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20FD1917-1441-4832-9EC0-0D1DABCB58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757AAD15-4D1F-4961-B536-5ECA1FDCBEF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9207E573-3D16-4F72-83D9-249A5604221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0" name="logo_blaa" hidden="1">
            <a:extLst>
              <a:ext uri="{FF2B5EF4-FFF2-40B4-BE49-F238E27FC236}">
                <a16:creationId xmlns:a16="http://schemas.microsoft.com/office/drawing/2014/main" id="{E593631D-DCB4-40E0-BDF6-D6C8B85350B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C78849A6-07C2-6F38-DA6A-325FBE439F3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7819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17378-974D-4128-8D5E-84FC6512327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26380" y="3247853"/>
            <a:ext cx="6865620" cy="3610147"/>
          </a:xfrm>
          <a:prstGeom prst="round1Rect">
            <a:avLst>
              <a:gd name="adj" fmla="val 39195"/>
            </a:avLst>
          </a:prstGeom>
          <a:solidFill>
            <a:srgbClr val="FDF3F2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970" y="4257902"/>
            <a:ext cx="4607604" cy="39405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4B4CF32-5696-483C-9E36-AECAC554D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718968E-017F-4F68-8388-B2E458897E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95677D21-AB8E-4EAE-937F-550723AA605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0DA2D151-1A8B-4DE7-921B-4788399FB6A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3A0026-16AF-4E57-831A-D74BAFCE142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E142F18-FA97-44F7-B279-1943E3BC51B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366C5A4A-E52D-4E55-82D4-F2A3DEF098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C71F8D16-8429-46C8-A55F-53113E72FB3A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D5F194-6865-43D1-A2E9-4920E38BE8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69971" y="4792663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CAD70542-FF49-23A7-E23E-2BA1D7D41D3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98CA5AE0-A5F1-3D96-95A2-9170C0DA18C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058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8E7BC67-93D3-4DE1-9069-B45F8FFA378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 hidden="1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419600" y="4651956"/>
            <a:ext cx="7772400" cy="2206044"/>
          </a:xfrm>
          <a:custGeom>
            <a:avLst/>
            <a:gdLst>
              <a:gd name="connsiteX0" fmla="*/ 6126453 w 7772400"/>
              <a:gd name="connsiteY0" fmla="*/ 0 h 2206044"/>
              <a:gd name="connsiteX1" fmla="*/ 0 w 7772400"/>
              <a:gd name="connsiteY1" fmla="*/ 0 h 2206044"/>
              <a:gd name="connsiteX2" fmla="*/ 0 w 7772400"/>
              <a:gd name="connsiteY2" fmla="*/ 2206044 h 2206044"/>
              <a:gd name="connsiteX3" fmla="*/ 7772400 w 7772400"/>
              <a:gd name="connsiteY3" fmla="*/ 2206044 h 2206044"/>
              <a:gd name="connsiteX4" fmla="*/ 7772400 w 7772400"/>
              <a:gd name="connsiteY4" fmla="*/ 1645947 h 2206044"/>
              <a:gd name="connsiteX5" fmla="*/ 6126453 w 7772400"/>
              <a:gd name="connsiteY5" fmla="*/ 0 h 2206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400" h="2206044">
                <a:moveTo>
                  <a:pt x="6126453" y="0"/>
                </a:moveTo>
                <a:lnTo>
                  <a:pt x="0" y="0"/>
                </a:lnTo>
                <a:lnTo>
                  <a:pt x="0" y="2206044"/>
                </a:lnTo>
                <a:lnTo>
                  <a:pt x="7772400" y="2206044"/>
                </a:lnTo>
                <a:lnTo>
                  <a:pt x="7772400" y="1645947"/>
                </a:lnTo>
                <a:cubicBezTo>
                  <a:pt x="7772400" y="736916"/>
                  <a:pt x="7035484" y="0"/>
                  <a:pt x="6126453" y="0"/>
                </a:cubicBezTo>
                <a:close/>
              </a:path>
            </a:pathLst>
          </a:cu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723901"/>
            <a:ext cx="4607762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135E41-F011-45ED-BC06-DEDEFCACBB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C9EA006E-2080-4935-92C8-631EA67245C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3" name="addin_colorbox" hidden="1">
            <a:extLst>
              <a:ext uri="{FF2B5EF4-FFF2-40B4-BE49-F238E27FC236}">
                <a16:creationId xmlns:a16="http://schemas.microsoft.com/office/drawing/2014/main" id="{2FC96FE8-006C-4558-8BA8-53291D4137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4" name="addin_background" hidden="1">
            <a:extLst>
              <a:ext uri="{FF2B5EF4-FFF2-40B4-BE49-F238E27FC236}">
                <a16:creationId xmlns:a16="http://schemas.microsoft.com/office/drawing/2014/main" id="{366A9094-1F57-4D0B-A622-EDA13749F05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5" name="addin_logo" hidden="1">
            <a:extLst>
              <a:ext uri="{FF2B5EF4-FFF2-40B4-BE49-F238E27FC236}">
                <a16:creationId xmlns:a16="http://schemas.microsoft.com/office/drawing/2014/main" id="{34FCEA06-8CAE-4214-8ECB-62EE1CDCC7A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66A5CB83-A611-486A-A11E-524EC248C2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FF933DB9-766C-426B-B11E-45A6BA6095A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 hidden="1">
            <a:extLst>
              <a:ext uri="{FF2B5EF4-FFF2-40B4-BE49-F238E27FC236}">
                <a16:creationId xmlns:a16="http://schemas.microsoft.com/office/drawing/2014/main" id="{4475D5B4-B04D-492A-BF9B-685A53F0430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5913" y="853321"/>
            <a:ext cx="534828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794821EF-9AF2-4167-BA65-8EAF8E8DEA4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5763" y="1196836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CA42C7DF-ED2B-443A-9FB1-BC0F52E371D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76813" y="5544693"/>
            <a:ext cx="7000761" cy="5905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D14A90C1-0AB2-6057-0D15-D78A2F71086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5A4867B8-F937-F9D8-2210-CD607097A24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250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Høyre og venstre)">
    <p:bg>
      <p:bgPr>
        <a:solidFill>
          <a:srgbClr val="FB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D96C6F-2B95-4858-B2FD-E57FE81F2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6080" y="0"/>
            <a:ext cx="545592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F8DC9D5-24ED-458C-90BB-732F5F9D6B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0"/>
            <a:ext cx="6587243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-1" y="0"/>
            <a:ext cx="658724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730171"/>
            <a:ext cx="6850742" cy="3127829"/>
          </a:xfrm>
          <a:prstGeom prst="round1Rect">
            <a:avLst>
              <a:gd name="adj" fmla="val 44896"/>
            </a:avLst>
          </a:pr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4729846"/>
            <a:ext cx="4891810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736080" y="0"/>
            <a:ext cx="5455919" cy="3730171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44182F-BA54-48B0-B256-4947640EB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addin_colorlist" hidden="1">
            <a:extLst>
              <a:ext uri="{FF2B5EF4-FFF2-40B4-BE49-F238E27FC236}">
                <a16:creationId xmlns:a16="http://schemas.microsoft.com/office/drawing/2014/main" id="{C273E00C-50FC-4C09-837B-667751499D4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2" name="addin_colorbox" hidden="1">
            <a:extLst>
              <a:ext uri="{FF2B5EF4-FFF2-40B4-BE49-F238E27FC236}">
                <a16:creationId xmlns:a16="http://schemas.microsoft.com/office/drawing/2014/main" id="{1136DBA2-434B-4983-86EB-77F8FA3578A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EEA2228F-8BF9-4C93-9035-4B6EF6481C8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addin_logo" hidden="1">
            <a:extLst>
              <a:ext uri="{FF2B5EF4-FFF2-40B4-BE49-F238E27FC236}">
                <a16:creationId xmlns:a16="http://schemas.microsoft.com/office/drawing/2014/main" id="{BF822C3C-A96D-4C31-9A95-60C5B3D4B25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919718A-FF57-49A0-9771-B176C0DE0BB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6" name="addin_text" hidden="1">
            <a:extLst>
              <a:ext uri="{FF2B5EF4-FFF2-40B4-BE49-F238E27FC236}">
                <a16:creationId xmlns:a16="http://schemas.microsoft.com/office/drawing/2014/main" id="{84AA82A5-69A9-42C5-A00A-E051759316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593EE2-8E41-475D-BA91-5A5948E62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85762" y="5202781"/>
            <a:ext cx="4891811" cy="82515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71FFD6C5-971F-8488-64C8-81F82510071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6091B2AF-EE7F-633F-7B94-95895C07443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8834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Venst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0" y="0"/>
            <a:ext cx="7353300" cy="6858000"/>
          </a:xfrm>
          <a:prstGeom prst="round1Rect">
            <a:avLst>
              <a:gd name="adj" fmla="val 38976"/>
            </a:avLst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232150"/>
            <a:ext cx="6850742" cy="3625851"/>
          </a:xfrm>
          <a:prstGeom prst="round1Rect">
            <a:avLst>
              <a:gd name="adj" fmla="val 38591"/>
            </a:avLst>
          </a:prstGeom>
          <a:solidFill>
            <a:srgbClr val="FDF3F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7069" y="2090825"/>
            <a:ext cx="4210504" cy="553998"/>
          </a:xfrm>
        </p:spPr>
        <p:txBody>
          <a:bodyPr anchor="b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67068" y="2766475"/>
            <a:ext cx="4210505" cy="392650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67069" y="4179840"/>
            <a:ext cx="4210505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0E5897B-0128-4833-ABC7-9D5B944D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addin_colorlist" hidden="1">
            <a:extLst>
              <a:ext uri="{FF2B5EF4-FFF2-40B4-BE49-F238E27FC236}">
                <a16:creationId xmlns:a16="http://schemas.microsoft.com/office/drawing/2014/main" id="{7BD4C53C-108D-4394-8456-4042468C0E3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B367CA8A-46EF-4B57-A802-BB29E53CA95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8EC9AE72-4105-48A6-A086-47AFE82C935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2F1AA884-7DE6-4EAE-BF6F-1767EE3A5B0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B8B387BA-8B81-4475-9FC8-702C90AFA83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D9145AC7-3FAF-40CE-9C66-69B589F567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818D3C5-E00B-4293-821C-798C4F134E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67025" y="4614675"/>
            <a:ext cx="4210549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451A0076-86FC-A33A-B0E0-CD0B8B4DA2D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A96703D4-CBE8-6457-D74B-6145360780F4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5447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59095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6" y="4019550"/>
            <a:ext cx="5559095" cy="1708150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9863" y="0"/>
            <a:ext cx="5672137" cy="6858000"/>
          </a:xfrm>
          <a:solidFill>
            <a:schemeClr val="accen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5B07D191-5165-41F0-9CA0-2D9A13FDE7A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48B445A7-2708-42E6-87CD-7BBE618FCB9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7AC23A7A-D883-4E96-90A1-C32758913D6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873DE8BD-C805-4280-9DAE-151FB5B3C74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B412EC9B-5739-4D54-AD85-89BAAB9B5DD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DC8B4B2D-F48D-4D80-9952-A71F5977CA9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4C581-6E50-4372-88CE-BC943FC4A2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3A06D244-5520-41C4-B5E5-C0A0DF4B407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404A2A7E-79DA-4E12-8A5E-415AF8F61F7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F3C4CD0E-859D-0DF4-44B1-DE56FEC09FA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4B93B0BE-1CBA-9BE1-7456-78DB6622AE3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477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3 boks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13DEE0-CCAF-47EA-A14D-D76793842F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49008" y="-8758"/>
            <a:ext cx="3949700" cy="6866758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16FC5DA-8226-4CF8-B228-E01FC1487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39200" y="349009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51F98C5-2BE5-42D7-BB2F-61E1BA87BF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9200" y="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5F59F70E-C806-43BD-9D89-C54E8C3B0DB3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39200" y="3498849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749800" y="-2"/>
            <a:ext cx="3949700" cy="685799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394970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910471"/>
            <a:ext cx="3949701" cy="55399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839200" y="0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4D51EAA-A93B-4020-8227-613B86276B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919271A-D69E-44B1-9601-857C23308C2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524CAE9B-B20C-4A8D-934B-59339B019D1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AC83C4E6-04D0-4072-8F3C-7976CB3356C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6A95789E-F5A3-4946-AB59-D1C0D4FF1F3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3D365EEB-3C51-4BE4-88F0-1FC8A2B887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0B668723-1F65-41E9-8B0D-4C408D3AF15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DefLogoHvit" hidden="1">
            <a:extLst>
              <a:ext uri="{FF2B5EF4-FFF2-40B4-BE49-F238E27FC236}">
                <a16:creationId xmlns:a16="http://schemas.microsoft.com/office/drawing/2014/main" id="{1B4E343D-3448-4288-96A0-8161A1BCA02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549804D6-DBC7-4F01-9B86-DCB54C291E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2121720"/>
            <a:ext cx="3949700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76525E7B-F16F-6DA1-60D8-9784DC5C049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B2189403-0208-07BF-0141-CF27779AD6B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8649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innhold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BFA32DA-0415-49CF-BCF9-38F570B362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25597" y="0"/>
            <a:ext cx="4266403" cy="686675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925597" y="1"/>
            <a:ext cx="4259939" cy="6857999"/>
          </a:xfrm>
          <a:prstGeom prst="rect">
            <a:avLst/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6163919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D2C0544-2BE4-48B0-9C84-7496C2E325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35BFD6A-9EBA-437D-94D3-A22AE9F3BF6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E9F07D1-9FDA-4010-B64C-C1629BFE350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0B018755-7928-4745-9B40-F3496CA5DF1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633A8CE6-D1F0-4276-AE71-8C8663E262E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FDD8280D-ED4A-4383-944E-05E4FE2BF96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94003EC-43C4-4410-B11C-73FEE191870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3341E66A-52C3-4488-998F-D252AB6C05B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BAA402BF-A073-4F44-B5BE-D9D57BDB227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199256" y="1698171"/>
            <a:ext cx="4259939" cy="383902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DC022BAA-D07A-8999-0810-604F7BD3A03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EFFBAC26-F75C-D9DA-488F-C1E3FEEFA48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2467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87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40B92AA-42BC-432B-8FCD-86D6CFD8E5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363977-D9F6-454E-A94B-C68902B958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8220" y="2476500"/>
            <a:ext cx="3978593" cy="355507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A81454-9B8B-4525-959D-5534FBD4C3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F7888C7-E2BB-4F37-9548-732E47B2D66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0D07F82-624B-4368-B875-4A5180E2445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C608B2B-F460-4524-A128-B881BF70A79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61C83988-EF2B-4F8A-A221-FBA24707F9C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7B8B98E-1475-4FEF-A304-E855B226301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07811DB8-614D-4E24-9368-EBE38BEF6B9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3A47E8CE-2C1D-4AD7-95B9-E7E0918EBD5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679F46EC-B1FB-07A3-2F62-83EF9FADDA17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AF776E6D-069F-043F-05F6-F61E0DF3604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556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6" y="2157469"/>
            <a:ext cx="5560333" cy="1938992"/>
          </a:xfrm>
        </p:spPr>
        <p:txBody>
          <a:bodyPr anchor="b">
            <a:noAutofit/>
          </a:bodyPr>
          <a:lstStyle>
            <a:lvl1pPr algn="ctr">
              <a:lnSpc>
                <a:spcPct val="90000"/>
              </a:lnSpc>
              <a:defRPr sz="3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“</a:t>
            </a:r>
            <a:r>
              <a:rPr lang="en-US" dirty="0" err="1"/>
              <a:t>Sitat</a:t>
            </a:r>
            <a:r>
              <a:rPr lang="en-US" dirty="0"/>
              <a:t>”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2E9EA-50DA-4C6F-BDBD-45D2CC16F5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7" y="4498845"/>
            <a:ext cx="5560332" cy="215444"/>
          </a:xfrm>
        </p:spPr>
        <p:txBody>
          <a:bodyPr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93E590-141F-4D3A-BAE4-F780C71B13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359BBBD-8D4D-47A6-A6D2-15A5C12B778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91BDE199-DCB0-44B7-B468-DB0113CDAAD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C20023-01D6-43AC-AC9E-3D5BBB97537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9037258-551C-4040-900F-0E68A78A12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61EAB1CA-B254-4FF7-9B06-83529538730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978D642-AF95-46D9-BDA8-AC5CCCB3ED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E1023C14-08D5-4A55-A00C-020E6A8C9E4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E493D47E-10EF-4CE8-DD76-D763A90BA4D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3DABD7B3-EEA5-4D9A-75D4-06DD8A3531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23245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84523D-32B3-42D2-9506-B4449EF176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15913" y="1460500"/>
            <a:ext cx="6719887" cy="4784725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9981B97-0927-4AE0-B50C-C8C76D99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4499" y="2152968"/>
            <a:ext cx="3912283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94E24CE-73E5-478C-A0AE-B3FF6F4E4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531F68E2-5378-49F8-9089-CF82D4C5C37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A3B53C9F-AC67-475F-A1A3-7F754C8F112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42717750-4B12-4D91-8622-DC0D4272850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CBF86961-0370-4940-A239-56F95E63CBD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0AE0909F-FA8A-42B2-A5EA-7A13B05B37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9400D268-CC84-41FD-B9A3-9510D85E407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0E2F7EB6-BD9A-4CAB-81C5-FA6F6D8726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499" y="2673350"/>
            <a:ext cx="3912283" cy="327546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8E3BC4F6-B923-1B54-EF1D-E4CAB38CA21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9" name="logo_hvit" hidden="1">
            <a:extLst>
              <a:ext uri="{FF2B5EF4-FFF2-40B4-BE49-F238E27FC236}">
                <a16:creationId xmlns:a16="http://schemas.microsoft.com/office/drawing/2014/main" id="{7EF53140-916D-EDDE-1866-F1316DA4D78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1199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715658" y="1036637"/>
            <a:ext cx="826112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5EA8AB-6B52-4A25-8679-9037A006B2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C43F1F1-08A8-45E6-8709-A6CF646C389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29DE899F-C243-4AB6-84E9-84DD211AA6D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FD84D5B2-05C4-4708-B0E6-8816C134C1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BC7B844F-3B22-4BC5-AE8F-529F6F8103B2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91826AB-F933-47F3-A50A-E1A9C8C299C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882AA710-D5DF-4B9E-B682-8BC67348AB3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27B46D2-22EB-487B-863E-8C88301E9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5" y="1191898"/>
            <a:ext cx="2822753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4FA9F045-2961-C2E5-F396-BF06473AB79D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A25C3310-7C64-F10C-889A-577C4C6C70F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93397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2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33B6724-4542-4E0D-A677-8E0AEC06B5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999124DB-8F02-409F-A729-E11030C3457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CD623913-286B-465D-A7E5-0DF3533D4623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CD92FFB2-664D-487F-A82D-D46DC13C7D0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BE133F-DD99-468C-8D55-748939F0F9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AAE24BC9-EA40-4A42-B35A-A5F8924D3B2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2A25BEF6-DC40-4AF2-B91B-D50EB057310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71BDB52-B689-490F-A912-7D7E708067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33292F4E-0C23-C047-FE75-B12C8B6D8C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B66224CD-5AD5-AFE3-DE98-6855FE9576E0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8943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4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5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8" name="Chart Placeholder 5">
            <a:extLst>
              <a:ext uri="{FF2B5EF4-FFF2-40B4-BE49-F238E27FC236}">
                <a16:creationId xmlns:a16="http://schemas.microsoft.com/office/drawing/2014/main" id="{67E0BF1E-FA82-4B7F-B923-BFDB61725C32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8126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CA985493-FA53-488E-8517-92FC07AF2B01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841829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22E512-6705-4C14-9589-C2DACC2CD1B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126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5F680-AEB8-4E1E-9514-7E53E03994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1829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FA83E3-5DF6-44FC-9818-DBD9AC138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7" y="6245941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addin_colorlist" hidden="1">
            <a:extLst>
              <a:ext uri="{FF2B5EF4-FFF2-40B4-BE49-F238E27FC236}">
                <a16:creationId xmlns:a16="http://schemas.microsoft.com/office/drawing/2014/main" id="{026061BC-914B-4BA8-A2C4-CC0745516D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7639C6D-46FA-4FA7-8EC0-21DEE11DB27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background" hidden="1">
            <a:extLst>
              <a:ext uri="{FF2B5EF4-FFF2-40B4-BE49-F238E27FC236}">
                <a16:creationId xmlns:a16="http://schemas.microsoft.com/office/drawing/2014/main" id="{71D860E0-3EB4-4985-8611-DBB86048C27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040054D-988B-4548-8071-431E56D48E1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3988038F-D2A8-423E-9DE1-C599EB065BA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7291C49E-6F93-4D1D-98F0-6D074E39ECF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F7D3B47-0043-4A21-A582-E9A771DC0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C43150E0-B36B-82F7-ED1A-72769B137082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FC21A55F-BDBC-2558-9B93-F76DB22B6EC8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1314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vikling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3134" y="2359798"/>
            <a:ext cx="4533908" cy="235449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17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/>
              <a:t>00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4012ADA4-FF9C-4A9A-9D47-9F7DF4E17A6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07042" y="2359797"/>
            <a:ext cx="3978593" cy="18499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z="1600"/>
              <a:t>Klikk for å redigere tekststiler i male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FCD7BF-3AB7-4429-8BC8-F8BC42C2A5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95E40C5A-6129-49F4-B4D2-D18CFE88C1D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6831A200-49F5-4645-BB55-B21422B4DD4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29F23ED3-8031-44D0-AF88-1C89758EB5A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696CEC71-F65A-43A1-962D-596ECDCFEFF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9D9EC0F-9854-4585-BE93-674C85878F1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72B513AD-BD82-49A5-8EDC-A9F4BDC63D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0BB6941E-7A67-4E07-AB3F-FA53A5938919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651EAD75-1B35-77E4-4695-F42A9EA79B0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51E6B51B-1F8D-91A5-D930-DD7DDBBB4F9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5762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53E799FF-A7CB-461E-B019-32619A79E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9780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9780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6A5C2C-D005-4D6A-B53B-999FAD2B2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97807" y="2254021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8192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8192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44BEA80-896A-4A78-A6E8-C08CC90D84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1927" y="2254021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12058" y="4315621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12058" y="3889692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C51C625-F779-4CC0-B43C-69D91D5B9F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12058" y="2249259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54053" y="4325288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4053" y="3899359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4A5529C-9EF2-4C35-9351-C26E0DDC60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4053" y="2258926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49780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KON SETTES INN HER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981927" y="2254021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154053" y="2258926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12058" y="2249259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D004951B-E132-4CB5-BE08-014909997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6E501A22-635E-4E52-A781-CEFE3AAF9E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5" name="addin_colorbox" hidden="1">
            <a:extLst>
              <a:ext uri="{FF2B5EF4-FFF2-40B4-BE49-F238E27FC236}">
                <a16:creationId xmlns:a16="http://schemas.microsoft.com/office/drawing/2014/main" id="{C152D6E7-5ABD-462F-B484-D3C5A98E30C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6" name="addin_background" hidden="1">
            <a:extLst>
              <a:ext uri="{FF2B5EF4-FFF2-40B4-BE49-F238E27FC236}">
                <a16:creationId xmlns:a16="http://schemas.microsoft.com/office/drawing/2014/main" id="{E380263D-5A13-44BA-8F84-CE8D468BF3F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7" name="addin_logo" hidden="1">
            <a:extLst>
              <a:ext uri="{FF2B5EF4-FFF2-40B4-BE49-F238E27FC236}">
                <a16:creationId xmlns:a16="http://schemas.microsoft.com/office/drawing/2014/main" id="{A47615AF-2F92-48F5-9427-DB7CDFC14D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8" name="addin_title" hidden="1">
            <a:extLst>
              <a:ext uri="{FF2B5EF4-FFF2-40B4-BE49-F238E27FC236}">
                <a16:creationId xmlns:a16="http://schemas.microsoft.com/office/drawing/2014/main" id="{DE8F631C-E719-4912-BF9F-B8C23CA2B3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9" name="addin_text" hidden="1">
            <a:extLst>
              <a:ext uri="{FF2B5EF4-FFF2-40B4-BE49-F238E27FC236}">
                <a16:creationId xmlns:a16="http://schemas.microsoft.com/office/drawing/2014/main" id="{7FC205FB-165B-4339-88D1-EF192C650B2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3BEB70C1-1600-FD32-123D-5FF898BF615C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31" name="logo_hvit" hidden="1">
            <a:extLst>
              <a:ext uri="{FF2B5EF4-FFF2-40B4-BE49-F238E27FC236}">
                <a16:creationId xmlns:a16="http://schemas.microsoft.com/office/drawing/2014/main" id="{B2477AB6-58F4-42FD-6137-7CD2A8E6F981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306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, sirkel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B580BDA-A445-4961-A52C-2EBE49B4CC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6888" y="0"/>
            <a:ext cx="6245112" cy="5842000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EF48DD2E-E22E-0360-BDEC-F8B3BD71BB0C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7" name="logo_hvit" hidden="1">
            <a:extLst>
              <a:ext uri="{FF2B5EF4-FFF2-40B4-BE49-F238E27FC236}">
                <a16:creationId xmlns:a16="http://schemas.microsoft.com/office/drawing/2014/main" id="{ED8EE56B-3310-91B0-11AB-E4305643608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5789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73BE435-F82E-401E-BC8F-786DF65E16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42257" y="2161952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875DC22-FC29-439F-BE1C-C4CEEE74EF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0495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59238488-45B2-4EF9-9DCF-75A9D082AC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367444" y="2161952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12A2793-E8C0-4A44-AD6E-511C67CD47B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80970" y="2161952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EC5F670-0FCC-48B7-9C97-8A0ED134BF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92632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8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8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0495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0495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7444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7444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80970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80970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542257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450495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280970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367444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3F540DE3-195D-4E6B-A7AF-31B5DF60F73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192632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F891B1A-3BF6-4C12-A12A-239C8FCE033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192632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D5D28B2-0704-4803-A645-557CB31EE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92632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0EFE922-5D7E-4DE7-BDD3-B34758502B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8" name="addin_colorlist" hidden="1">
            <a:extLst>
              <a:ext uri="{FF2B5EF4-FFF2-40B4-BE49-F238E27FC236}">
                <a16:creationId xmlns:a16="http://schemas.microsoft.com/office/drawing/2014/main" id="{075E0F79-D570-480C-8DF3-E58C21E1F6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9" name="addin_colorbox" hidden="1">
            <a:extLst>
              <a:ext uri="{FF2B5EF4-FFF2-40B4-BE49-F238E27FC236}">
                <a16:creationId xmlns:a16="http://schemas.microsoft.com/office/drawing/2014/main" id="{67B923A1-1928-48F4-99F0-2BC992E26D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0" name="addin_background" hidden="1">
            <a:extLst>
              <a:ext uri="{FF2B5EF4-FFF2-40B4-BE49-F238E27FC236}">
                <a16:creationId xmlns:a16="http://schemas.microsoft.com/office/drawing/2014/main" id="{C8275DA9-4738-44F4-80E0-B95FD7F7669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1" name="addin_logo" hidden="1">
            <a:extLst>
              <a:ext uri="{FF2B5EF4-FFF2-40B4-BE49-F238E27FC236}">
                <a16:creationId xmlns:a16="http://schemas.microsoft.com/office/drawing/2014/main" id="{50E7F9FC-E5AD-43C9-9814-D45E18A0765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2" name="addin_title" hidden="1">
            <a:extLst>
              <a:ext uri="{FF2B5EF4-FFF2-40B4-BE49-F238E27FC236}">
                <a16:creationId xmlns:a16="http://schemas.microsoft.com/office/drawing/2014/main" id="{4E85F3F3-61FE-46B8-9DCC-8DF708F7EF3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43" name="addin_text" hidden="1">
            <a:extLst>
              <a:ext uri="{FF2B5EF4-FFF2-40B4-BE49-F238E27FC236}">
                <a16:creationId xmlns:a16="http://schemas.microsoft.com/office/drawing/2014/main" id="{CCB6333A-8809-4730-B12B-15E8A5FE96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2" name="logo_blaa" hidden="1">
            <a:extLst>
              <a:ext uri="{FF2B5EF4-FFF2-40B4-BE49-F238E27FC236}">
                <a16:creationId xmlns:a16="http://schemas.microsoft.com/office/drawing/2014/main" id="{1DECC41D-58AF-FF42-2866-35DA14045C9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6" name="logo_hvit" hidden="1">
            <a:extLst>
              <a:ext uri="{FF2B5EF4-FFF2-40B4-BE49-F238E27FC236}">
                <a16:creationId xmlns:a16="http://schemas.microsoft.com/office/drawing/2014/main" id="{67C829DE-DE19-BEB1-2DA0-47996ADC7EC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7770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(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7C3D8B82-1186-4182-B0A5-AF811E03AAA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0279050-A64A-4B83-A905-1B3FC387D1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8625" y="1771827"/>
            <a:ext cx="895350" cy="872978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0D0A5540-DE13-4650-A761-05A3821451B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913F1418-8863-4CCE-A609-28E1F569F71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4062DE1-5A03-401B-828E-C09837CBE7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39050" y="0"/>
            <a:ext cx="4552950" cy="6858000"/>
          </a:xfrm>
          <a:solidFill>
            <a:srgbClr val="005AA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657939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7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7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657939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FDEC93C-B0F9-43F6-9A2B-43486128B15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13982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D64AEBB-F5C6-49BB-A8BD-743146A4CB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13982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52CFF93E-569D-485C-9953-C19AC5E3C45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542257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A6D454-40E4-4EA2-B644-EDCFBBCB62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42257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1A3C0572-03EF-4F24-A0B1-253B71A2C1F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13982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4A24DB8-42A3-44EC-A86F-652A8538749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13982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A96C8D-EA7E-4A1A-9503-66E8E35B8CE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369300" y="1098550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DC22F2-8CFA-49E4-A541-56C2672DA8B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69300" y="1605457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25147704-1371-462B-8BE0-901BF4C6B9A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369300" y="2882345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CCA3D76-ECCA-4308-8AF0-909FC8B26F8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369300" y="3389252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60A7792F-9090-4A87-8964-DF22B9449CE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69300" y="4922063"/>
            <a:ext cx="3608274" cy="393700"/>
          </a:xfrm>
        </p:spPr>
        <p:txBody>
          <a:bodyPr anchor="b"/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A80D731A-25DF-478D-9DD2-54A9511D84F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369300" y="5428970"/>
            <a:ext cx="3608274" cy="3937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D6001A3-F024-4A8E-B5CF-D1D78B3F4E4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FB244F5A-705A-48E8-927E-F279AC5F5FEC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866900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3A7F4820-EF59-4DD5-A97C-2CBCBA008F35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238625" y="1771827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98FC926-9B84-46D8-89CC-E751E9D26A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EE315A61-2E68-4EB9-B2F9-BDF0F31BDE53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866900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FAD39D5-056D-4EB9-8E8D-ACED66A3A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5" name="Content Placeholder 8">
            <a:extLst>
              <a:ext uri="{FF2B5EF4-FFF2-40B4-BE49-F238E27FC236}">
                <a16:creationId xmlns:a16="http://schemas.microsoft.com/office/drawing/2014/main" id="{769CDA1B-0410-4357-A97C-A7947A450081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4238625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1910E6F-A89F-470C-B8C5-2CA101D8EC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2" name="addin_colorlist" hidden="1">
            <a:extLst>
              <a:ext uri="{FF2B5EF4-FFF2-40B4-BE49-F238E27FC236}">
                <a16:creationId xmlns:a16="http://schemas.microsoft.com/office/drawing/2014/main" id="{2530AF2D-9963-4853-BC15-8D5711DC97A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45" name="addin_colorbox" hidden="1">
            <a:extLst>
              <a:ext uri="{FF2B5EF4-FFF2-40B4-BE49-F238E27FC236}">
                <a16:creationId xmlns:a16="http://schemas.microsoft.com/office/drawing/2014/main" id="{4647CBF0-028B-48BC-8377-8664458D9C7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6" name="addin_background" hidden="1">
            <a:extLst>
              <a:ext uri="{FF2B5EF4-FFF2-40B4-BE49-F238E27FC236}">
                <a16:creationId xmlns:a16="http://schemas.microsoft.com/office/drawing/2014/main" id="{A4BBCABF-1EAD-4EE4-9436-DCF1D62455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6" name="addin_logo" hidden="1">
            <a:extLst>
              <a:ext uri="{FF2B5EF4-FFF2-40B4-BE49-F238E27FC236}">
                <a16:creationId xmlns:a16="http://schemas.microsoft.com/office/drawing/2014/main" id="{53D5C84E-F74F-4DE1-B8BD-09B906AD98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57" name="addin_title" hidden="1">
            <a:extLst>
              <a:ext uri="{FF2B5EF4-FFF2-40B4-BE49-F238E27FC236}">
                <a16:creationId xmlns:a16="http://schemas.microsoft.com/office/drawing/2014/main" id="{6A4887B0-59E8-4459-A232-FBE56D3489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58" name="addin_text" hidden="1">
            <a:extLst>
              <a:ext uri="{FF2B5EF4-FFF2-40B4-BE49-F238E27FC236}">
                <a16:creationId xmlns:a16="http://schemas.microsoft.com/office/drawing/2014/main" id="{DFF3A27C-DEC0-4C13-A024-9CDA6FA62D2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59" name="DefLogoHvit" hidden="1">
            <a:extLst>
              <a:ext uri="{FF2B5EF4-FFF2-40B4-BE49-F238E27FC236}">
                <a16:creationId xmlns:a16="http://schemas.microsoft.com/office/drawing/2014/main" id="{E242F738-11B7-4699-ADA7-AD2F8082B21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D55B4F7D-105F-568D-A60E-9A946F18166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7" name="logo_hvit" hidden="1">
            <a:extLst>
              <a:ext uri="{FF2B5EF4-FFF2-40B4-BE49-F238E27FC236}">
                <a16:creationId xmlns:a16="http://schemas.microsoft.com/office/drawing/2014/main" id="{AFE8F803-4110-6D15-6E2C-B2912BF652E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7767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09692" y="1238672"/>
            <a:ext cx="5242508" cy="5242256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242492" y="566738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spcBef>
                <a:spcPts val="1800"/>
              </a:spcBef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C83D3ED5-C123-48D8-BF8E-0476E8596C82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02A992B5-F485-45DA-B617-5194C3E6D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28E5F674-4C79-44C3-8673-EC472B0189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FFF9BE07-6D50-4E95-ABFB-67A93A07F5A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42044" y="5886736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18F87034-0D47-8F1F-CEE8-C1C8E20576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3199" y="391996"/>
            <a:ext cx="3269209" cy="6088932"/>
          </a:xfrm>
          <a:custGeom>
            <a:avLst/>
            <a:gdLst>
              <a:gd name="connsiteX0" fmla="*/ 0 w 3269209"/>
              <a:gd name="connsiteY0" fmla="*/ 0 h 6088932"/>
              <a:gd name="connsiteX1" fmla="*/ 3269209 w 3269209"/>
              <a:gd name="connsiteY1" fmla="*/ 0 h 6088932"/>
              <a:gd name="connsiteX2" fmla="*/ 3269209 w 3269209"/>
              <a:gd name="connsiteY2" fmla="*/ 5517061 h 6088932"/>
              <a:gd name="connsiteX3" fmla="*/ 3206085 w 3269209"/>
              <a:gd name="connsiteY3" fmla="*/ 5568207 h 6088932"/>
              <a:gd name="connsiteX4" fmla="*/ 1637747 w 3269209"/>
              <a:gd name="connsiteY4" fmla="*/ 6088932 h 6088932"/>
              <a:gd name="connsiteX5" fmla="*/ 69409 w 3269209"/>
              <a:gd name="connsiteY5" fmla="*/ 5568207 h 6088932"/>
              <a:gd name="connsiteX6" fmla="*/ 0 w 3269209"/>
              <a:gd name="connsiteY6" fmla="*/ 5511969 h 6088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9209" h="6088932">
                <a:moveTo>
                  <a:pt x="0" y="0"/>
                </a:moveTo>
                <a:lnTo>
                  <a:pt x="3269209" y="0"/>
                </a:lnTo>
                <a:lnTo>
                  <a:pt x="3269209" y="5517061"/>
                </a:lnTo>
                <a:lnTo>
                  <a:pt x="3206085" y="5568207"/>
                </a:lnTo>
                <a:cubicBezTo>
                  <a:pt x="2768748" y="5895256"/>
                  <a:pt x="2225867" y="6088932"/>
                  <a:pt x="1637747" y="6088932"/>
                </a:cubicBezTo>
                <a:cubicBezTo>
                  <a:pt x="1049628" y="6088932"/>
                  <a:pt x="506746" y="5895256"/>
                  <a:pt x="69409" y="5568207"/>
                </a:cubicBezTo>
                <a:lnTo>
                  <a:pt x="0" y="5511969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-5460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3461807D-F43B-C4D8-2B8D-0AC9B01048F2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D986072B-9260-7C8C-AA7B-30489AE6280E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086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Neste sid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1667" y="609539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F69524D-9849-A312-A21E-D4A681D7DF1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2374" y="434797"/>
            <a:ext cx="3269209" cy="6091313"/>
          </a:xfrm>
          <a:custGeom>
            <a:avLst/>
            <a:gdLst>
              <a:gd name="connsiteX0" fmla="*/ 0 w 3269209"/>
              <a:gd name="connsiteY0" fmla="*/ 0 h 6091313"/>
              <a:gd name="connsiteX1" fmla="*/ 3269209 w 3269209"/>
              <a:gd name="connsiteY1" fmla="*/ 0 h 6091313"/>
              <a:gd name="connsiteX2" fmla="*/ 3269209 w 3269209"/>
              <a:gd name="connsiteY2" fmla="*/ 5515889 h 6091313"/>
              <a:gd name="connsiteX3" fmla="*/ 3155159 w 3269209"/>
              <a:gd name="connsiteY3" fmla="*/ 5607729 h 6091313"/>
              <a:gd name="connsiteX4" fmla="*/ 1637747 w 3269209"/>
              <a:gd name="connsiteY4" fmla="*/ 6091313 h 6091313"/>
              <a:gd name="connsiteX5" fmla="*/ 56823 w 3269209"/>
              <a:gd name="connsiteY5" fmla="*/ 5561117 h 6091313"/>
              <a:gd name="connsiteX6" fmla="*/ 0 w 3269209"/>
              <a:gd name="connsiteY6" fmla="*/ 5513941 h 6091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69209" h="6091313">
                <a:moveTo>
                  <a:pt x="0" y="0"/>
                </a:moveTo>
                <a:lnTo>
                  <a:pt x="3269209" y="0"/>
                </a:lnTo>
                <a:lnTo>
                  <a:pt x="3269209" y="5515889"/>
                </a:lnTo>
                <a:lnTo>
                  <a:pt x="3155159" y="5607729"/>
                </a:lnTo>
                <a:cubicBezTo>
                  <a:pt x="2726922" y="5912248"/>
                  <a:pt x="2203247" y="6091313"/>
                  <a:pt x="1637747" y="6091313"/>
                </a:cubicBezTo>
                <a:cubicBezTo>
                  <a:pt x="1043973" y="6091313"/>
                  <a:pt x="496310" y="5893894"/>
                  <a:pt x="56823" y="5561117"/>
                </a:cubicBezTo>
                <a:lnTo>
                  <a:pt x="0" y="5513941"/>
                </a:lnTo>
                <a:close/>
              </a:path>
            </a:pathLst>
          </a:cu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31" b="-5449"/>
            </a:stretch>
          </a:blipFill>
        </p:spPr>
        <p:txBody>
          <a:bodyPr wrap="square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DA2EDFEE-A606-400C-BA08-036FC2EA105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25C65358-318C-E68D-C42D-F710142AB83F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6DF471B9-3498-435E-2271-F218AB248EE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477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22" name="Circle 2">
            <a:extLst>
              <a:ext uri="{FF2B5EF4-FFF2-40B4-BE49-F238E27FC236}">
                <a16:creationId xmlns:a16="http://schemas.microsoft.com/office/drawing/2014/main" id="{643EB9AF-85D6-452D-8D92-900AFF59F2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35075" y="1303425"/>
            <a:ext cx="5019194" cy="5019194"/>
          </a:xfrm>
          <a:prstGeom prst="rect">
            <a:avLst/>
          </a:prstGeom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1557912" y="3841396"/>
            <a:ext cx="4211870" cy="237681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D2883-1DBB-4A89-BE2A-3AB6A6803E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6677" y="3408539"/>
            <a:ext cx="4968936" cy="4090061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A2064675-25F3-2030-5949-109D236189A6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8510DF5A-2008-2770-9212-61E54A4F342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4812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8" dur="20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B0CE27-C394-4607-98BB-7BA11CE74F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095499">
            <a:off x="7470934" y="2251972"/>
            <a:ext cx="2477110" cy="5326551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20087460">
            <a:off x="7250598" y="2087988"/>
            <a:ext cx="2902052" cy="563668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Picture Placeholder 31">
            <a:extLst>
              <a:ext uri="{FF2B5EF4-FFF2-40B4-BE49-F238E27FC236}">
                <a16:creationId xmlns:a16="http://schemas.microsoft.com/office/drawing/2014/main" id="{81C825AF-C1C5-44BB-9F0A-1E28516D9E1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 rot="20095499">
            <a:off x="11413087" y="3189250"/>
            <a:ext cx="2480710" cy="532137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6" name="Text Placeholder 64">
            <a:extLst>
              <a:ext uri="{FF2B5EF4-FFF2-40B4-BE49-F238E27FC236}">
                <a16:creationId xmlns:a16="http://schemas.microsoft.com/office/drawing/2014/main" id="{8001664F-BDA3-427D-9F79-FBB525E0DF0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20087460">
            <a:off x="11194429" y="3019296"/>
            <a:ext cx="2902052" cy="563668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9E04B0B-6D10-4EC9-BB96-507F599A1C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2667000" cy="560754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659F7348-F075-F48D-453E-B5C331D5823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ADBF0150-97C8-F602-1A1A-B76ECB32D7DB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491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-0.0625 -0.238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8" dur="2000" fill="hold"/>
                                        <p:tgtEl>
                                          <p:spTgt spid="6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0" dur="20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7.40741E-7 L -0.0625 -0.2388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4" dur="2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8" dur="2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65" grpId="0" uiExpand="1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8" grpId="0"/>
      <p:bldP spid="26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click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4A80CED5-AB6B-4994-B3E6-B97FBE16A8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EDD01A2-4366-4D2C-A0E7-B1B95B71D0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4477" y="1750446"/>
            <a:ext cx="5995752" cy="493526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Picture Placeholder 31">
            <a:extLst>
              <a:ext uri="{FF2B5EF4-FFF2-40B4-BE49-F238E27FC236}">
                <a16:creationId xmlns:a16="http://schemas.microsoft.com/office/drawing/2014/main" id="{26E0B4AE-3913-4C0F-A569-2625D1C2CE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7230274" y="2275124"/>
            <a:ext cx="5097572" cy="288216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7622D3-E2C3-498F-9799-B2CB374E63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25569" y="5636682"/>
            <a:ext cx="3947160" cy="646518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CB4E4-C2B8-4505-B3B2-E7A16D1D597F}"/>
              </a:ext>
            </a:extLst>
          </p:cNvPr>
          <p:cNvSpPr txBox="1"/>
          <p:nvPr userDrawn="1"/>
        </p:nvSpPr>
        <p:spPr>
          <a:xfrm>
            <a:off x="6821714" y="244565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B9D396-4FA5-4E05-AA33-A3B2F34FDFD0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5075B-279A-49F7-9EF7-C440206021BF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69F34-0256-46BB-95B6-72F3160484E5}"/>
              </a:ext>
            </a:extLst>
          </p:cNvPr>
          <p:cNvSpPr txBox="1"/>
          <p:nvPr userDrawn="1"/>
        </p:nvSpPr>
        <p:spPr>
          <a:xfrm>
            <a:off x="5054535" y="-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5798462A-FDC9-4067-81E1-BA3C406CDC5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044" y="5886736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4" name="logo_blaa" hidden="1">
            <a:extLst>
              <a:ext uri="{FF2B5EF4-FFF2-40B4-BE49-F238E27FC236}">
                <a16:creationId xmlns:a16="http://schemas.microsoft.com/office/drawing/2014/main" id="{E75E30DA-DC31-7344-F2A8-5F6E41769030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  <p:pic>
        <p:nvPicPr>
          <p:cNvPr id="28" name="logo_hvit" hidden="1">
            <a:extLst>
              <a:ext uri="{FF2B5EF4-FFF2-40B4-BE49-F238E27FC236}">
                <a16:creationId xmlns:a16="http://schemas.microsoft.com/office/drawing/2014/main" id="{B9C2CF46-4754-58A6-6098-515DF54E769A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43" y="5886736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365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6" dur="2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8" dur="2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-0.03437 -0.1416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-70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789 0.17593 L 4.58333E-6 -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4" y="-905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383 0.10393 L 0.24388 0.2006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3" y="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4" grpId="0"/>
      <p:bldP spid="3" grpId="0" uiExpand="1" build="p" animBg="1">
        <p:tmplLst>
          <p:tmpl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08789 0.17593 L 4.58333E-6 -1.48148E-6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4284" y="-9051"/>
                    </p:animMotion>
                  </p:childTnLst>
                </p:cTn>
              </p:par>
            </p:tnLst>
          </p:tmpl>
          <p:tmpl lvl="1"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7383 0.10393 L 0.24388 0.20069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503" y="4838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C3D015-6959-4408-9BF2-878E984CDA0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127625" y="0"/>
            <a:ext cx="7064375" cy="6858000"/>
          </a:xfrm>
          <a:solidFill>
            <a:srgbClr val="00103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92E13-E931-494C-96DF-4A2421B6FE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81497" y="4038600"/>
            <a:ext cx="7810497" cy="2819400"/>
          </a:xfrm>
          <a:custGeom>
            <a:avLst/>
            <a:gdLst>
              <a:gd name="connsiteX0" fmla="*/ 6007097 w 7810497"/>
              <a:gd name="connsiteY0" fmla="*/ 0 h 2819400"/>
              <a:gd name="connsiteX1" fmla="*/ 0 w 7810497"/>
              <a:gd name="connsiteY1" fmla="*/ 0 h 2819400"/>
              <a:gd name="connsiteX2" fmla="*/ 0 w 7810497"/>
              <a:gd name="connsiteY2" fmla="*/ 2819400 h 2819400"/>
              <a:gd name="connsiteX3" fmla="*/ 7810497 w 7810497"/>
              <a:gd name="connsiteY3" fmla="*/ 2819400 h 2819400"/>
              <a:gd name="connsiteX4" fmla="*/ 7810497 w 7810497"/>
              <a:gd name="connsiteY4" fmla="*/ 1803400 h 2819400"/>
              <a:gd name="connsiteX5" fmla="*/ 6007097 w 7810497"/>
              <a:gd name="connsiteY5" fmla="*/ 0 h 281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10497" h="2819400">
                <a:moveTo>
                  <a:pt x="6007097" y="0"/>
                </a:moveTo>
                <a:lnTo>
                  <a:pt x="0" y="0"/>
                </a:lnTo>
                <a:lnTo>
                  <a:pt x="0" y="2819400"/>
                </a:lnTo>
                <a:lnTo>
                  <a:pt x="7810497" y="2819400"/>
                </a:lnTo>
                <a:lnTo>
                  <a:pt x="7810497" y="1803400"/>
                </a:lnTo>
                <a:cubicBezTo>
                  <a:pt x="7810497" y="807410"/>
                  <a:pt x="7003087" y="0"/>
                  <a:pt x="6007097" y="0"/>
                </a:cubicBezTo>
                <a:close/>
              </a:path>
            </a:pathLst>
          </a:custGeom>
          <a:solidFill>
            <a:srgbClr val="C3C2DC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11ACC01-A937-4271-A7CA-BDC2D6D394D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38264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8264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828245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82903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77A88A4F-5ACA-4E7F-97B6-8D5BFDDB038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424801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199A3D1D-B068-40B9-94DE-750DA43F6A1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24801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AF12E05B-349E-468D-89CE-BFB1E0530AB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428236" y="5041029"/>
            <a:ext cx="1766888" cy="986907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B8ED6D48-CFEA-4D2F-80DC-CBDA51FDD93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428236" y="4611460"/>
            <a:ext cx="1766888" cy="338741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F91AA2C9-234E-4CCE-ABF3-86C69A1A96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24" y="2249281"/>
            <a:ext cx="3438925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300">
                <a:solidFill>
                  <a:srgbClr val="00207D"/>
                </a:solidFill>
              </a:defRPr>
            </a:lvl2pPr>
            <a:lvl3pPr>
              <a:defRPr sz="1200">
                <a:solidFill>
                  <a:srgbClr val="00207D"/>
                </a:solidFill>
              </a:defRPr>
            </a:lvl3pPr>
            <a:lvl4pPr>
              <a:defRPr sz="1100">
                <a:solidFill>
                  <a:srgbClr val="00207D"/>
                </a:solidFill>
              </a:defRPr>
            </a:lvl4pPr>
            <a:lvl5pPr>
              <a:defRPr sz="10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465B5-E891-45FD-B2CD-F7832BDB643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B652CA5B-091A-4E89-9203-486E5C39F48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A2D3D61E-049A-48E0-9986-95DEF9C8F2B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122DD4A3-2094-47A6-87DB-03D72FCE8FB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9" name="addin_logo" hidden="1">
            <a:extLst>
              <a:ext uri="{FF2B5EF4-FFF2-40B4-BE49-F238E27FC236}">
                <a16:creationId xmlns:a16="http://schemas.microsoft.com/office/drawing/2014/main" id="{F2DDBE38-7E8E-4049-B6C7-D0729F6C696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title" hidden="1">
            <a:extLst>
              <a:ext uri="{FF2B5EF4-FFF2-40B4-BE49-F238E27FC236}">
                <a16:creationId xmlns:a16="http://schemas.microsoft.com/office/drawing/2014/main" id="{87107F74-6EEF-4C55-B579-31D86AEE85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1" name="addin_text" hidden="1">
            <a:extLst>
              <a:ext uri="{FF2B5EF4-FFF2-40B4-BE49-F238E27FC236}">
                <a16:creationId xmlns:a16="http://schemas.microsoft.com/office/drawing/2014/main" id="{1CC0094A-8549-4644-B35B-BC8DAAA1AAB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06775AC8-02A7-D6A9-C5F9-2E91A4DED40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DABDE88D-541F-AE77-C19C-454657FDE6B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4811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)">
    <p:bg>
      <p:bgPr>
        <a:solidFill>
          <a:srgbClr val="CECE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C455073B-9561-4C18-AE0B-2DBE98389C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096000" y="1720850"/>
            <a:ext cx="6096000" cy="5137150"/>
          </a:xfr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6AEB2CF0-BD35-47EE-A838-C4F6293D9FC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7429500" y="-1333500"/>
            <a:ext cx="3429000" cy="6096000"/>
          </a:xfrm>
          <a:prstGeom prst="round1Rect">
            <a:avLst>
              <a:gd name="adj" fmla="val 38889"/>
            </a:avLst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3429000"/>
            <a:ext cx="6096000" cy="3429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30D4A27-CB15-4024-A7B2-B0A0FBB527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0"/>
            <a:ext cx="6096000" cy="3429000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11600" y="3772800"/>
            <a:ext cx="556597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  <a:solidFill>
            <a:srgbClr val="0000FE">
              <a:alpha val="0"/>
            </a:srgbClr>
          </a:solidFill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9EE6D194-429B-4CF9-A25A-D35D88FBF5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5913" y="909186"/>
            <a:ext cx="3253810" cy="430887"/>
          </a:xfrm>
          <a:solidFill>
            <a:srgbClr val="0000FE">
              <a:alpha val="0"/>
            </a:srgbClr>
          </a:solidFill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3579248" y="1073070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8D8D130-C5B1-450A-822A-5F08E950A7F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29600" y="1846800"/>
            <a:ext cx="2713758" cy="1241425"/>
          </a:xfrm>
        </p:spPr>
        <p:txBody>
          <a:bodyPr/>
          <a:lstStyle>
            <a:lvl1pPr marL="0" indent="0">
              <a:buNone/>
              <a:defRPr sz="10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3772800"/>
            <a:ext cx="4660900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45B7438E-AE75-4FF7-BC5E-B7C2C0CE599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A4BDD34D-E03D-4646-867F-0721BEFA75DC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1, firefarg2</a:t>
            </a:r>
          </a:p>
        </p:txBody>
      </p:sp>
      <p:sp>
        <p:nvSpPr>
          <p:cNvPr id="29" name="addin_colorbox" hidden="1">
            <a:extLst>
              <a:ext uri="{FF2B5EF4-FFF2-40B4-BE49-F238E27FC236}">
                <a16:creationId xmlns:a16="http://schemas.microsoft.com/office/drawing/2014/main" id="{9E04BAB5-E565-4580-A95D-A8DBBBA206C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0" name="addin_background" hidden="1">
            <a:extLst>
              <a:ext uri="{FF2B5EF4-FFF2-40B4-BE49-F238E27FC236}">
                <a16:creationId xmlns:a16="http://schemas.microsoft.com/office/drawing/2014/main" id="{20312245-3B2C-45E0-A41F-9880DECB8AA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1" name="addin_logo" hidden="1">
            <a:extLst>
              <a:ext uri="{FF2B5EF4-FFF2-40B4-BE49-F238E27FC236}">
                <a16:creationId xmlns:a16="http://schemas.microsoft.com/office/drawing/2014/main" id="{0555D013-45BB-4434-BCD4-CA50C4FDF50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title" hidden="1">
            <a:extLst>
              <a:ext uri="{FF2B5EF4-FFF2-40B4-BE49-F238E27FC236}">
                <a16:creationId xmlns:a16="http://schemas.microsoft.com/office/drawing/2014/main" id="{3293E258-4BAB-4E3E-B382-2BF51368333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3" name="addin_text" hidden="1">
            <a:extLst>
              <a:ext uri="{FF2B5EF4-FFF2-40B4-BE49-F238E27FC236}">
                <a16:creationId xmlns:a16="http://schemas.microsoft.com/office/drawing/2014/main" id="{F306448A-BC82-40F1-B842-B6DB578BF4F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4" name="addin_spestext" hidden="1">
            <a:extLst>
              <a:ext uri="{FF2B5EF4-FFF2-40B4-BE49-F238E27FC236}">
                <a16:creationId xmlns:a16="http://schemas.microsoft.com/office/drawing/2014/main" id="{28414EB4-7508-47EB-8178-87FDD9A0F47B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E3844F34-BF24-4DE8-8F36-35D26CD26D68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8CBF3C7C-55B9-484F-8323-BAF8BDA704CE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06FD54A-FD2A-49F0-83FB-443C74F64F15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8FD9630B-D6BC-493A-BBE8-569F372E8290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31A0D69A-9581-4EBF-B323-5DB0479996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4194000"/>
            <a:ext cx="4660899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EC8A8337-24E7-481A-8588-D5597050FC34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11600" y="4194000"/>
            <a:ext cx="5565974" cy="78556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5F335A74-0045-4431-93C5-38BA94BA922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291600" y="910800"/>
            <a:ext cx="2685974" cy="48487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51C3B738-B55A-AADF-B496-748DB20615E5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F92FF57A-762E-B035-BB57-1426DFEAF29F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5033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4 deler, 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2F04CD96-D11A-4B44-912B-ADD88AA349C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0108" y="2411834"/>
            <a:ext cx="4077730" cy="4446166"/>
          </a:xfrm>
          <a:solidFill>
            <a:srgbClr val="FFF9F5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700E0BD-BA45-4A7E-A9CC-E715CDB8E7C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077730" y="0"/>
            <a:ext cx="4036542" cy="4316164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4400294" y="3144021"/>
            <a:ext cx="3397251" cy="4030705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460C567-3FD3-4899-98EB-BA303D6775D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 rot="5400000">
            <a:off x="8422761" y="-308490"/>
            <a:ext cx="3460748" cy="4077730"/>
          </a:xfrm>
          <a:custGeom>
            <a:avLst/>
            <a:gdLst>
              <a:gd name="connsiteX0" fmla="*/ 0 w 3429000"/>
              <a:gd name="connsiteY0" fmla="*/ 4051300 h 4051300"/>
              <a:gd name="connsiteX1" fmla="*/ 0 w 3429000"/>
              <a:gd name="connsiteY1" fmla="*/ 0 h 4051300"/>
              <a:gd name="connsiteX2" fmla="*/ 2503239 w 3429000"/>
              <a:gd name="connsiteY2" fmla="*/ 0 h 4051300"/>
              <a:gd name="connsiteX3" fmla="*/ 3429000 w 3429000"/>
              <a:gd name="connsiteY3" fmla="*/ 925761 h 4051300"/>
              <a:gd name="connsiteX4" fmla="*/ 3429000 w 3429000"/>
              <a:gd name="connsiteY4" fmla="*/ 4051300 h 40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0" h="4051300">
                <a:moveTo>
                  <a:pt x="0" y="4051300"/>
                </a:moveTo>
                <a:lnTo>
                  <a:pt x="0" y="0"/>
                </a:lnTo>
                <a:lnTo>
                  <a:pt x="2503239" y="0"/>
                </a:lnTo>
                <a:cubicBezTo>
                  <a:pt x="3014523" y="0"/>
                  <a:pt x="3429000" y="414477"/>
                  <a:pt x="3429000" y="925761"/>
                </a:cubicBezTo>
                <a:lnTo>
                  <a:pt x="3429000" y="4051300"/>
                </a:lnTo>
                <a:close/>
              </a:path>
            </a:pathLst>
          </a:custGeom>
          <a:solidFill>
            <a:srgbClr val="CECDE7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DC774C79-16BF-402F-AB0F-4B3DDB76E4B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0" y="0"/>
            <a:ext cx="4083566" cy="6858000"/>
          </a:xfrm>
          <a:solidFill>
            <a:srgbClr val="0061A8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06959" y="4114895"/>
            <a:ext cx="3080679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32538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62251966-DC51-42A4-9D10-7A6D8F3A70A2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9182117" y="4069602"/>
            <a:ext cx="2032424" cy="201399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DAB914C2-BF35-4A59-AC94-D43C6D9E086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5913" y="1228528"/>
            <a:ext cx="3253812" cy="338741"/>
          </a:xfrm>
        </p:spPr>
        <p:txBody>
          <a:bodyPr lIns="79200" anchor="b"/>
          <a:lstStyle>
            <a:lvl1pPr marL="0" indent="0">
              <a:buNone/>
              <a:defRPr sz="16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D7576959-282F-48A7-93E6-CDC621CBBB5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72509" y="167205"/>
            <a:ext cx="3505064" cy="338741"/>
          </a:xfrm>
          <a:solidFill>
            <a:srgbClr val="0000FE">
              <a:alpha val="0"/>
            </a:srgbClr>
          </a:solidFill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77FC5C6-3FFB-4293-812F-50F87293B3A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DE7A0B9B-A159-4769-AA7E-43F8A26DEAA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firefarg3, firefarg4</a:t>
            </a:r>
          </a:p>
        </p:txBody>
      </p:sp>
      <p:sp>
        <p:nvSpPr>
          <p:cNvPr id="28" name="addin_colorbox" hidden="1">
            <a:extLst>
              <a:ext uri="{FF2B5EF4-FFF2-40B4-BE49-F238E27FC236}">
                <a16:creationId xmlns:a16="http://schemas.microsoft.com/office/drawing/2014/main" id="{A723CA78-23AE-48CA-B30D-BC65F7A9A3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background" hidden="1">
            <a:extLst>
              <a:ext uri="{FF2B5EF4-FFF2-40B4-BE49-F238E27FC236}">
                <a16:creationId xmlns:a16="http://schemas.microsoft.com/office/drawing/2014/main" id="{FDB0DF5E-1B59-4D22-8E8C-0E8E2795D31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CC87C9FE-39EB-4A6D-868B-7B8E1B4B3B1C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title" hidden="1">
            <a:extLst>
              <a:ext uri="{FF2B5EF4-FFF2-40B4-BE49-F238E27FC236}">
                <a16:creationId xmlns:a16="http://schemas.microsoft.com/office/drawing/2014/main" id="{2147B6EF-8E5B-42EE-B44C-8A50E0911D9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4" name="addin_text" hidden="1">
            <a:extLst>
              <a:ext uri="{FF2B5EF4-FFF2-40B4-BE49-F238E27FC236}">
                <a16:creationId xmlns:a16="http://schemas.microsoft.com/office/drawing/2014/main" id="{F117A96B-03C2-43F0-BDD8-8161858E432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6" name="addin_image" hidden="1">
            <a:extLst>
              <a:ext uri="{FF2B5EF4-FFF2-40B4-BE49-F238E27FC236}">
                <a16:creationId xmlns:a16="http://schemas.microsoft.com/office/drawing/2014/main" id="{870B3DFC-356E-466E-A04C-39E936E6E326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D39FA83-C4E7-4637-ABFB-525099A04B9B}"/>
              </a:ext>
            </a:extLst>
          </p:cNvPr>
          <p:cNvSpPr/>
          <p:nvPr userDrawn="1"/>
        </p:nvSpPr>
        <p:spPr>
          <a:xfrm>
            <a:off x="-598538" y="753"/>
            <a:ext cx="540068" cy="540068"/>
          </a:xfrm>
          <a:prstGeom prst="rect">
            <a:avLst/>
          </a:prstGeom>
          <a:solidFill>
            <a:srgbClr val="C3C2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A7530B15-9197-446D-BAD0-B354241C94F9}"/>
              </a:ext>
            </a:extLst>
          </p:cNvPr>
          <p:cNvSpPr/>
          <p:nvPr userDrawn="1"/>
        </p:nvSpPr>
        <p:spPr>
          <a:xfrm>
            <a:off x="-598538" y="275482"/>
            <a:ext cx="266019" cy="26533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12CFCD8F-01FE-4654-871C-7FF1504A9466}"/>
              </a:ext>
            </a:extLst>
          </p:cNvPr>
          <p:cNvSpPr/>
          <p:nvPr userDrawn="1"/>
        </p:nvSpPr>
        <p:spPr>
          <a:xfrm>
            <a:off x="-332519" y="275481"/>
            <a:ext cx="274049" cy="265338"/>
          </a:xfrm>
          <a:prstGeom prst="rect">
            <a:avLst/>
          </a:prstGeom>
          <a:solidFill>
            <a:srgbClr val="FFF9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73D33CA6-FE73-4DD0-A18B-77AA905F72DD}"/>
              </a:ext>
            </a:extLst>
          </p:cNvPr>
          <p:cNvSpPr/>
          <p:nvPr userDrawn="1"/>
        </p:nvSpPr>
        <p:spPr>
          <a:xfrm>
            <a:off x="-332519" y="753"/>
            <a:ext cx="274049" cy="274726"/>
          </a:xfrm>
          <a:prstGeom prst="rect">
            <a:avLst/>
          </a:prstGeom>
          <a:solidFill>
            <a:srgbClr val="005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2CE2E79D-4BE6-4DCF-BE36-0B43C13C476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1695722"/>
            <a:ext cx="3253811" cy="131027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8AE6BBE8-A093-48FC-8519-587B0A829EB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472510" y="603919"/>
            <a:ext cx="3505064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CD107A-6138-4458-8580-DDA462984F8A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4706960" y="4551609"/>
            <a:ext cx="3080680" cy="180791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B3EE3473-17A1-7C62-7BA8-CE797B202AF1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84BCE7FA-56BD-E08D-1619-F3967338E22D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1214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4DA4748-4F43-4F1B-AAEB-2ED411E5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C94E69BD-0A56-40F8-B68A-E3D823537E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D1EDA5DC-474F-4369-8152-D656FEB6ADA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15396179-4FC6-46C7-82A4-0F380217A02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5048B53-A7C6-4F18-96FB-30937FDBA63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5FF0EACC-C50A-44B5-8C4D-444ED159113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CFE3393-AB3C-44EB-AFC3-F01B9D65C2D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49EF98D6-91C4-4ED8-AF8C-C1F414AB396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6" name="logo_blaa" hidden="1">
            <a:extLst>
              <a:ext uri="{FF2B5EF4-FFF2-40B4-BE49-F238E27FC236}">
                <a16:creationId xmlns:a16="http://schemas.microsoft.com/office/drawing/2014/main" id="{9B00FF52-BAB8-BC8B-AE10-C1B1119B51C5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2E1906B3-7190-2E96-CC47-F4CD1C30D76B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271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CE894AE-F5A2-4709-A208-E529BF8713F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 rot="16200000">
            <a:off x="5270105" y="-63898"/>
            <a:ext cx="4292600" cy="9551195"/>
          </a:xfrm>
          <a:prstGeom prst="round1Rect">
            <a:avLst>
              <a:gd name="adj" fmla="val 43590"/>
            </a:avLst>
          </a:prstGeom>
          <a:solidFill>
            <a:srgbClr val="00207D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73029" y="634781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73029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8" name="Title 13">
            <a:extLst>
              <a:ext uri="{FF2B5EF4-FFF2-40B4-BE49-F238E27FC236}">
                <a16:creationId xmlns:a16="http://schemas.microsoft.com/office/drawing/2014/main" id="{C46AD3B1-167D-4395-A447-CD474FECC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4328" y="407521"/>
            <a:ext cx="6746085" cy="1284754"/>
          </a:xfrm>
        </p:spPr>
        <p:txBody>
          <a:bodyPr anchor="ctr"/>
          <a:lstStyle>
            <a:lvl1pPr>
              <a:lnSpc>
                <a:spcPct val="90000"/>
              </a:lnSpc>
              <a:defRPr sz="10000"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68846015-2A3B-446D-A0B8-D29C61C01F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63755" y="6112838"/>
            <a:ext cx="1846659" cy="153888"/>
          </a:xfrm>
          <a:solidFill>
            <a:srgbClr val="0000FF">
              <a:alpha val="0"/>
            </a:srgbClr>
          </a:solidFill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B9BD4B98-07E6-4F80-AF51-2316CD968B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63755" y="6347818"/>
            <a:ext cx="1846659" cy="15388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9BF6C8A6-65BE-42D3-BEB6-7005D686B56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 rot="10800000">
            <a:off x="7561943" y="0"/>
            <a:ext cx="4630057" cy="6858001"/>
          </a:xfrm>
          <a:prstGeom prst="round1Rect">
            <a:avLst>
              <a:gd name="adj" fmla="val 47979"/>
            </a:avLst>
          </a:prstGeom>
          <a:solidFill>
            <a:srgbClr val="00579E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96F1FE8-28E4-4C92-9D93-7B8DCD67097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1BD38ED4-B725-4AAB-9487-255EBB7049C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ste1, siste2, siste3, siste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6F4D908F-B453-4F18-BE82-ACB5B2DA82B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FC09F4C-2DCB-4C69-9F83-FBEF8B9EA1E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052BDCAC-5BC9-42C5-8C89-4398E2F45DA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305CCF73-19C7-4C9B-893D-1D0A7E0B1B9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03A08D40-C143-4FDB-834C-4EDCBBAB098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spestext" hidden="1">
            <a:extLst>
              <a:ext uri="{FF2B5EF4-FFF2-40B4-BE49-F238E27FC236}">
                <a16:creationId xmlns:a16="http://schemas.microsoft.com/office/drawing/2014/main" id="{282BCBC8-4FEA-4F9A-A003-2C640A6FBC6E}"/>
              </a:ext>
            </a:extLst>
          </p:cNvPr>
          <p:cNvSpPr/>
          <p:nvPr userDrawn="1"/>
        </p:nvSpPr>
        <p:spPr>
          <a:xfrm>
            <a:off x="2499793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spestext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157286-2074-4AB7-850D-1D7DDD1937D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28608" y="6115219"/>
            <a:ext cx="1640683" cy="46166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sz="1000" dirty="0">
                <a:solidFill>
                  <a:srgbClr val="00207D"/>
                </a:solidFill>
              </a:rPr>
              <a:t>Sparebank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Facebook.com/sb1.no</a:t>
            </a:r>
          </a:p>
          <a:p>
            <a:r>
              <a:rPr lang="en-US" sz="1000" dirty="0">
                <a:solidFill>
                  <a:srgbClr val="00207D"/>
                </a:solidFill>
              </a:rPr>
              <a:t>@sb1ostlandet</a:t>
            </a:r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2DB8AE09-CD4A-45F7-950C-8FF439D201A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87C27FCF-BA41-1022-71D1-D381B219B9A9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E79F9F5E-5780-BD38-0C69-509F00DE8D40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6578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D75FC5D-6F55-45E1-BA2B-4AD0149F6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B5EFC96-E4EE-4FE8-B92E-AF05CED0CD1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93031825-807F-472B-AF88-ED6DD1CD310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D84F1E6E-F1BA-4219-A7A6-F50B1C2A1EE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DC5899DE-05C4-455E-9646-5E8813CF710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2" name="addin_logo" hidden="1">
            <a:extLst>
              <a:ext uri="{FF2B5EF4-FFF2-40B4-BE49-F238E27FC236}">
                <a16:creationId xmlns:a16="http://schemas.microsoft.com/office/drawing/2014/main" id="{BACC81DC-258C-49C1-8853-1FE54172C6A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087211ED-582A-466E-942B-54ECB00D05C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81C5F396-DEF8-49C6-8C44-EC521A266BB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19" name="logo_blaa" hidden="1">
            <a:extLst>
              <a:ext uri="{FF2B5EF4-FFF2-40B4-BE49-F238E27FC236}">
                <a16:creationId xmlns:a16="http://schemas.microsoft.com/office/drawing/2014/main" id="{38E06E76-23F2-8EB7-C4B6-68FBA8231B49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2" name="logo_hvit" hidden="1">
            <a:extLst>
              <a:ext uri="{FF2B5EF4-FFF2-40B4-BE49-F238E27FC236}">
                <a16:creationId xmlns:a16="http://schemas.microsoft.com/office/drawing/2014/main" id="{1CE0FDE8-FE84-C4A0-38E5-1979BB6309AB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9188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7044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0C30A9F-5053-4DB4-BE21-F0A37A195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00383E-FC0D-4BBD-B582-285183134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E5267-B60F-431C-98DF-C672F505E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10B15B95-7E4F-49BD-86F8-CD48FDE599A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7" name="addin_colorbox" hidden="1">
            <a:extLst>
              <a:ext uri="{FF2B5EF4-FFF2-40B4-BE49-F238E27FC236}">
                <a16:creationId xmlns:a16="http://schemas.microsoft.com/office/drawing/2014/main" id="{60F511CE-520D-4D58-978B-A742962CBB1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8309DFEF-9575-4318-B437-CBFF2E4AF83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9" name="addin_logo" hidden="1">
            <a:extLst>
              <a:ext uri="{FF2B5EF4-FFF2-40B4-BE49-F238E27FC236}">
                <a16:creationId xmlns:a16="http://schemas.microsoft.com/office/drawing/2014/main" id="{67036A9A-33C9-40AC-910B-E05856E9B2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09D6E0DE-92FA-4CF9-95A6-8B562FF54A9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CCFE1FC6-4BD8-45F8-B934-22BCC395D00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6A144EF-35F3-4471-82EB-B8135768E0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18" name="logo_blaa" hidden="1">
            <a:extLst>
              <a:ext uri="{FF2B5EF4-FFF2-40B4-BE49-F238E27FC236}">
                <a16:creationId xmlns:a16="http://schemas.microsoft.com/office/drawing/2014/main" id="{E8359437-33FC-46C9-C697-0ACEF148B62F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1" name="logo_hvit" hidden="1">
            <a:extLst>
              <a:ext uri="{FF2B5EF4-FFF2-40B4-BE49-F238E27FC236}">
                <a16:creationId xmlns:a16="http://schemas.microsoft.com/office/drawing/2014/main" id="{723A2E89-DFFF-D0CF-2F33-7FF6359A5D63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1088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Levende bakgrunn 1" descr="Levende bakgrunn 1">
            <a:hlinkClick r:id="" action="ppaction://media"/>
            <a:extLst>
              <a:ext uri="{FF2B5EF4-FFF2-40B4-BE49-F238E27FC236}">
                <a16:creationId xmlns:a16="http://schemas.microsoft.com/office/drawing/2014/main" id="{902AFA99-DB3C-4EA2-8EB5-150A887A50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BDB705D4-301E-4A9A-B0CA-85132C564A97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7" name="logo_blaa" hidden="1">
            <a:extLst>
              <a:ext uri="{FF2B5EF4-FFF2-40B4-BE49-F238E27FC236}">
                <a16:creationId xmlns:a16="http://schemas.microsoft.com/office/drawing/2014/main" id="{53845398-E2D1-F27D-1E90-1B6F2DB9767A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2" name="logo_hvit" hidden="1">
            <a:extLst>
              <a:ext uri="{FF2B5EF4-FFF2-40B4-BE49-F238E27FC236}">
                <a16:creationId xmlns:a16="http://schemas.microsoft.com/office/drawing/2014/main" id="{DE617B9A-3AD3-D372-D25C-81718688DAD4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567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037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</p:childTnLst>
        </p:cTn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Levende bakgrunn 3_loop" descr="Levende bakgrunn 3_loop">
            <a:hlinkClick r:id="" action="ppaction://media"/>
            <a:extLst>
              <a:ext uri="{FF2B5EF4-FFF2-40B4-BE49-F238E27FC236}">
                <a16:creationId xmlns:a16="http://schemas.microsoft.com/office/drawing/2014/main" id="{172DB947-6D78-4E6D-8CC2-57FA8919CB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5E24FCCD-F83F-78B0-D820-39CAE3C59DDE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3" name="logo_hvit" hidden="1">
            <a:extLst>
              <a:ext uri="{FF2B5EF4-FFF2-40B4-BE49-F238E27FC236}">
                <a16:creationId xmlns:a16="http://schemas.microsoft.com/office/drawing/2014/main" id="{703F355E-75A0-99E7-05C6-59EC466C346F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598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042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</p:childTnLst>
        </p:cTn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Én klar tale_Small">
            <a:hlinkClick r:id="" action="ppaction://media"/>
            <a:extLst>
              <a:ext uri="{FF2B5EF4-FFF2-40B4-BE49-F238E27FC236}">
                <a16:creationId xmlns:a16="http://schemas.microsoft.com/office/drawing/2014/main" id="{C4E7F5B9-7211-4D5E-9660-E42C89413EB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71970E4F-E284-FCFA-9F2B-E07A9150652C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F265D7AA-C097-69B5-84BF-B77AC908124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273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44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Animasjon_Skape rom_Small">
            <a:hlinkClick r:id="" action="ppaction://media"/>
            <a:extLst>
              <a:ext uri="{FF2B5EF4-FFF2-40B4-BE49-F238E27FC236}">
                <a16:creationId xmlns:a16="http://schemas.microsoft.com/office/drawing/2014/main" id="{3334B1F6-4488-4769-89A9-8DE1F485628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80888" cy="6858000"/>
          </a:xfrm>
          <a:prstGeom prst="rect">
            <a:avLst/>
          </a:prstGeom>
        </p:spPr>
      </p:pic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3F150ABE-5C90-9C05-FD6E-927596F0DEE2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CC675B5C-8742-9082-6BBA-6DBC18D6085B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577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imasjon #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309100" y="6246570"/>
            <a:ext cx="2667000" cy="560754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5296276-6E45-4A1A-9B25-2A129A7D0E0C}"/>
              </a:ext>
            </a:extLst>
          </p:cNvPr>
          <p:cNvSpPr txBox="1"/>
          <p:nvPr userDrawn="1"/>
        </p:nvSpPr>
        <p:spPr>
          <a:xfrm>
            <a:off x="2527300" y="-1080869"/>
            <a:ext cx="6642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Animasjonen starter automatisk i lysbildefremvisning</a:t>
            </a:r>
          </a:p>
          <a:p>
            <a:pPr algn="ctr"/>
            <a:r>
              <a:rPr lang="nb-NO" dirty="0"/>
              <a:t>Test med å trykke Shift+F5</a:t>
            </a:r>
          </a:p>
        </p:txBody>
      </p:sp>
      <p:pic>
        <p:nvPicPr>
          <p:cNvPr id="3" name="Sammen">
            <a:hlinkClick r:id="" action="ppaction://media"/>
            <a:extLst>
              <a:ext uri="{FF2B5EF4-FFF2-40B4-BE49-F238E27FC236}">
                <a16:creationId xmlns:a16="http://schemas.microsoft.com/office/drawing/2014/main" id="{E615C148-FB3A-4F63-88D8-B13C677070D5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C23ED816-DD3E-8078-627B-9B90700D34CE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4" name="logo_hvit" hidden="1">
            <a:extLst>
              <a:ext uri="{FF2B5EF4-FFF2-40B4-BE49-F238E27FC236}">
                <a16:creationId xmlns:a16="http://schemas.microsoft.com/office/drawing/2014/main" id="{7533BB1E-88B4-AF5E-2161-947F175BEA4B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664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96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59095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6" y="4019550"/>
            <a:ext cx="5559095" cy="1708150"/>
          </a:xfrm>
        </p:spPr>
        <p:txBody>
          <a:bodyPr/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/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/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519863" y="0"/>
            <a:ext cx="5672137" cy="6858000"/>
          </a:xfrm>
          <a:solidFill>
            <a:schemeClr val="accen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5B07D191-5165-41F0-9CA0-2D9A13FDE7A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48B445A7-2708-42E6-87CD-7BBE618FCB9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7AC23A7A-D883-4E96-90A1-C32758913D6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873DE8BD-C805-4280-9DAE-151FB5B3C74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B412EC9B-5739-4D54-AD85-89BAAB9B5DD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DC8B4B2D-F48D-4D80-9952-A71F5977CA9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B4C581-6E50-4372-88CE-BC943FC4A2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3" y="301039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3A06D244-5520-41C4-B5E5-C0A0DF4B407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404A2A7E-79DA-4E12-8A5E-415AF8F61F7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77159F25-5056-4420-9C68-CF2AF407FF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2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8CFD009-5768-460E-B1AC-408011B33D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834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52763ED-CF70-4772-BB44-DC41205ED8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5" y="2288796"/>
            <a:ext cx="5560333" cy="1938992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defRPr sz="7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6" y="4338863"/>
            <a:ext cx="5560332" cy="1708150"/>
          </a:xfrm>
        </p:spPr>
        <p:txBody>
          <a:bodyPr anchor="t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8EE8199-86B9-4779-8FFF-E942D0D919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4" y="301039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C1C65D8-3327-4A0F-A16F-F092745C825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E8AD148F-21A9-43AC-99D2-45BA43F665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418948F-C32B-4E23-AD6D-7451FE13932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9579EA3C-8EEC-474C-B378-87DCAEEDEED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170DAD57-37FB-44B9-AB07-2453F6D0428D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2128C84B-197A-4C62-8A3B-2AD4F5CFE1C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640345A6-8FBC-47B0-B8DD-333C5CBE232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C8E9FEE7-2064-A960-463C-EC6810487966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2667000" cy="560754"/>
          </a:xfrm>
          <a:prstGeom prst="rect">
            <a:avLst/>
          </a:prstGeom>
        </p:spPr>
      </p:pic>
      <p:pic>
        <p:nvPicPr>
          <p:cNvPr id="26" name="logo_hvit" hidden="1">
            <a:extLst>
              <a:ext uri="{FF2B5EF4-FFF2-40B4-BE49-F238E27FC236}">
                <a16:creationId xmlns:a16="http://schemas.microsoft.com/office/drawing/2014/main" id="{4C172714-F6A9-38F6-AB00-C50EF09EBEA7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144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Høyre, sirkel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/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/>
          <a:p>
            <a:endParaRPr lang="en-US" dirty="0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B580BDA-A445-4961-A52C-2EBE49B4CC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46888" y="0"/>
            <a:ext cx="6245112" cy="5842000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1F008BBA-689F-42DB-913E-0747FEF2C9A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F06E2D9-F070-4F9C-A1C6-8E39C20198F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background" hidden="1">
            <a:extLst>
              <a:ext uri="{FF2B5EF4-FFF2-40B4-BE49-F238E27FC236}">
                <a16:creationId xmlns:a16="http://schemas.microsoft.com/office/drawing/2014/main" id="{20F64EEC-DBFB-4FDA-B7D3-2BFC8275B17A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B4FB7D30-A58A-4C12-BA63-D7BD6F30D44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4B4ECA20-A19D-4A30-BCBE-5B85C7B9069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E0A27905-A053-4BA2-B313-CC93DDB1A4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F09D0317-D37C-4CB3-ACEF-438C4B052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3" y="301039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62AE36E-9C13-4C22-9D9E-82AC72D82727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DefLogoHvit" hidden="1">
            <a:extLst>
              <a:ext uri="{FF2B5EF4-FFF2-40B4-BE49-F238E27FC236}">
                <a16:creationId xmlns:a16="http://schemas.microsoft.com/office/drawing/2014/main" id="{2336466F-2103-425B-87BE-18F3E57B9F81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3A8B3444-B055-4876-BCDF-4362969C75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3E64E77-BB9D-4FE1-B65D-5B5320D1E0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7797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 (Bak)">
    <p:bg>
      <p:bgPr>
        <a:solidFill>
          <a:srgbClr val="005A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86664A-2EF2-43CB-A41F-676FF90963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8924" y="1969483"/>
            <a:ext cx="5560333" cy="1938992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defRPr sz="7000"/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8925" y="4019550"/>
            <a:ext cx="5560332" cy="1708150"/>
          </a:xfrm>
        </p:spPr>
        <p:txBody>
          <a:bodyPr anchor="t"/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/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4DA4748-4F43-4F1B-AAEB-2ED411E524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3" y="301039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C94E69BD-0A56-40F8-B68A-E3D823537E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D1EDA5DC-474F-4369-8152-D656FEB6ADA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15396179-4FC6-46C7-82A4-0F380217A02E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5048B53-A7C6-4F18-96FB-30937FDBA63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5FF0EACC-C50A-44B5-8C4D-444ED159113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CFE3393-AB3C-44EB-AFC3-F01B9D65C2D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49EF98D6-91C4-4ED8-AF8C-C1F414AB396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CC0BB864-E400-4751-B88E-E80E8D8581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49AFA44E-E2BE-4A5D-9686-12875EAD4B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0060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52763ED-CF70-4772-BB44-DC41205ED83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12192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016823-0CF5-4E86-9EAA-665C116278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5" y="2288796"/>
            <a:ext cx="5560333" cy="1938992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defRPr sz="7000"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Forsidetittel</a:t>
            </a:r>
            <a:r>
              <a:rPr lang="en-US" dirty="0"/>
              <a:t> 1 over </a:t>
            </a:r>
            <a:r>
              <a:rPr lang="en-US" dirty="0" err="1"/>
              <a:t>flere</a:t>
            </a:r>
            <a:r>
              <a:rPr lang="en-US" dirty="0"/>
              <a:t> </a:t>
            </a:r>
            <a:r>
              <a:rPr lang="en-US" dirty="0" err="1"/>
              <a:t>lnjer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090C3FE-F8EA-425C-8EC5-7E5FAC9AAC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6" y="4338863"/>
            <a:ext cx="5560332" cy="1708150"/>
          </a:xfrm>
        </p:spPr>
        <p:txBody>
          <a:bodyPr anchor="t"/>
          <a:lstStyle>
            <a:lvl1pPr marL="0" indent="0" algn="ctr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40DC8-8015-4280-9F49-4728CD3AEE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974057" y="6457255"/>
            <a:ext cx="1511301" cy="153888"/>
          </a:xfrm>
        </p:spPr>
        <p:txBody>
          <a:bodyPr anchor="t"/>
          <a:lstStyle>
            <a:lvl1pPr algn="l">
              <a:defRPr/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47BDDC-ACB0-4CEA-9DBA-DD08EC697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8924" y="6457255"/>
            <a:ext cx="1511301" cy="153888"/>
          </a:xfrm>
        </p:spPr>
        <p:txBody>
          <a:bodyPr anchor="t"/>
          <a:lstStyle/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E5ECCBD-B5E9-4D1F-9F54-5859AE8BB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25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62DC32B-35DB-45A2-93F5-92E47B593A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74057" y="6224584"/>
            <a:ext cx="1511300" cy="153988"/>
          </a:xfrm>
        </p:spPr>
        <p:txBody>
          <a:bodyPr anchor="b"/>
          <a:lstStyle>
            <a:lvl1pPr marL="0" indent="0">
              <a:buNone/>
              <a:defRPr sz="1000" cap="all" baseline="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Sted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8EE8199-86B9-4779-8FFF-E942D0D919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593" y="301039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C1C65D8-3327-4A0F-A16F-F092745C825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E8AD148F-21A9-43AC-99D2-45BA43F665E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418948F-C32B-4E23-AD6D-7451FE13932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9579EA3C-8EEC-474C-B378-87DCAEEDEED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170DAD57-37FB-44B9-AB07-2453F6D0428D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2128C84B-197A-4C62-8A3B-2AD4F5CFE1C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640345A6-8FBC-47B0-B8DD-333C5CBE232A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7A452EB3-6E59-4392-B969-9B361F70E7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1" y="301037"/>
            <a:ext cx="1735008" cy="396000"/>
          </a:xfrm>
          <a:prstGeom prst="rect">
            <a:avLst/>
          </a:prstGeom>
        </p:spPr>
      </p:pic>
      <p:pic>
        <p:nvPicPr>
          <p:cNvPr id="23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2713BDA1-0B11-4C32-B7E5-D8FE521D62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92" y="301038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4261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2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DDD0D1-7607-4D30-B017-29557565B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24148" y="0"/>
            <a:ext cx="9467852" cy="5341258"/>
          </a:xfrm>
          <a:custGeom>
            <a:avLst/>
            <a:gdLst>
              <a:gd name="connsiteX0" fmla="*/ 13212 w 9467852"/>
              <a:gd name="connsiteY0" fmla="*/ 0 h 5341258"/>
              <a:gd name="connsiteX1" fmla="*/ 9467852 w 9467852"/>
              <a:gd name="connsiteY1" fmla="*/ 0 h 5341258"/>
              <a:gd name="connsiteX2" fmla="*/ 9467852 w 9467852"/>
              <a:gd name="connsiteY2" fmla="*/ 2559831 h 5341258"/>
              <a:gd name="connsiteX3" fmla="*/ 9387475 w 9467852"/>
              <a:gd name="connsiteY3" fmla="*/ 2726709 h 5341258"/>
              <a:gd name="connsiteX4" fmla="*/ 4995184 w 9467852"/>
              <a:gd name="connsiteY4" fmla="*/ 5341258 h 5341258"/>
              <a:gd name="connsiteX5" fmla="*/ 0 w 9467852"/>
              <a:gd name="connsiteY5" fmla="*/ 345373 h 5341258"/>
              <a:gd name="connsiteX6" fmla="*/ 6500 w 9467852"/>
              <a:gd name="connsiteY6" fmla="*/ 88286 h 534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7852" h="5341258">
                <a:moveTo>
                  <a:pt x="13212" y="0"/>
                </a:moveTo>
                <a:lnTo>
                  <a:pt x="9467852" y="0"/>
                </a:lnTo>
                <a:lnTo>
                  <a:pt x="9467852" y="2559831"/>
                </a:lnTo>
                <a:lnTo>
                  <a:pt x="9387475" y="2726709"/>
                </a:lnTo>
                <a:cubicBezTo>
                  <a:pt x="8541594" y="4284052"/>
                  <a:pt x="6891833" y="5341258"/>
                  <a:pt x="4995184" y="5341258"/>
                </a:cubicBezTo>
                <a:cubicBezTo>
                  <a:pt x="2236421" y="5341258"/>
                  <a:pt x="0" y="3104524"/>
                  <a:pt x="0" y="345373"/>
                </a:cubicBezTo>
                <a:cubicBezTo>
                  <a:pt x="0" y="259150"/>
                  <a:pt x="2184" y="173436"/>
                  <a:pt x="6500" y="8828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54327" y="50800"/>
            <a:ext cx="6837674" cy="6807200"/>
          </a:xfrm>
          <a:custGeom>
            <a:avLst/>
            <a:gdLst>
              <a:gd name="connsiteX0" fmla="*/ 6805412 w 6837674"/>
              <a:gd name="connsiteY0" fmla="*/ 0 h 6807200"/>
              <a:gd name="connsiteX1" fmla="*/ 6837674 w 6837674"/>
              <a:gd name="connsiteY1" fmla="*/ 822 h 6807200"/>
              <a:gd name="connsiteX2" fmla="*/ 6837674 w 6837674"/>
              <a:gd name="connsiteY2" fmla="*/ 6807200 h 6807200"/>
              <a:gd name="connsiteX3" fmla="*/ 0 w 6837674"/>
              <a:gd name="connsiteY3" fmla="*/ 6807200 h 6807200"/>
              <a:gd name="connsiteX4" fmla="*/ 7582 w 6837674"/>
              <a:gd name="connsiteY4" fmla="*/ 6505088 h 6807200"/>
              <a:gd name="connsiteX5" fmla="*/ 6805412 w 6837674"/>
              <a:gd name="connsiteY5" fmla="*/ 0 h 680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7674" h="6807200">
                <a:moveTo>
                  <a:pt x="6805412" y="0"/>
                </a:moveTo>
                <a:lnTo>
                  <a:pt x="6837674" y="822"/>
                </a:lnTo>
                <a:lnTo>
                  <a:pt x="6837674" y="6807200"/>
                </a:lnTo>
                <a:lnTo>
                  <a:pt x="0" y="6807200"/>
                </a:lnTo>
                <a:lnTo>
                  <a:pt x="7582" y="6505088"/>
                </a:lnTo>
                <a:cubicBezTo>
                  <a:pt x="189887" y="2881528"/>
                  <a:pt x="3163658" y="0"/>
                  <a:pt x="6805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821C79A-09F0-415C-ABA8-F68C1FBFB8B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68399" y="2474118"/>
            <a:ext cx="2082800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9E87C030-834C-4DD1-ACF4-9E176AA7FB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5" y="2474118"/>
            <a:ext cx="308763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1A815E2-8392-4901-B494-FC72347B46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D4BFF5A0-D5F1-466F-8F8F-752A0CF7B9F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2703FF8-08E6-435B-BC69-B46322B3C88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86BCDAB5-94E1-4029-873A-6AAA0DF90F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420A2D1-A6FA-4817-8190-221B5B1AC7F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39DA551-001F-4769-BA32-95ED85E0D8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DA1777B3-13AE-4111-8C56-F4E837BF47B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F74E35BB-3239-4B07-AEB8-6D0E5BDC129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2A531C7A-9C23-4C9A-AFAE-243940B810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724150EC-4CF1-4454-8385-2C9A292834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47130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Bullets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F05E5-4985-4C05-9562-7EDA2EA06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9635" y="2474119"/>
            <a:ext cx="4283866" cy="2398823"/>
          </a:xfrm>
          <a:prstGeom prst="rect">
            <a:avLst/>
          </a:prstGeom>
        </p:spPr>
        <p:txBody>
          <a:bodyPr lIns="0" tIns="0" rIns="0" bIns="0"/>
          <a:lstStyle>
            <a:lvl1pPr marL="2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7452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3pPr>
            <a:lvl4pPr marL="163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4pPr>
            <a:lvl5pPr marL="20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D9509D-1F87-4CAD-BC94-A4964D7947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74D0B008-DE7E-47CB-875B-CF47AB39A06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1BD67AD2-2095-475B-A5AD-628752A6DD2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7E11CD56-B9C0-419B-8A36-BB48536752F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0093EA9-B48E-408D-BF34-563BEACBA4D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C32B9E1F-DA12-4F53-805F-DC377D7702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D6980C80-9C4B-40C0-9EBB-CAF66C85577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18C0116C-C2F0-4272-B65F-C60714918693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B7BC6600-B857-4DD2-B7C9-0E004A6DAE2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98517BE6-4574-4687-BEE0-D23F57BA04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D58FF98C-2A79-4910-967D-7D63B9B601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6479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DE15B9-BBD7-42A7-B667-4AABA4393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6118" y="0"/>
            <a:ext cx="6908798" cy="3589020"/>
          </a:xfrm>
          <a:custGeom>
            <a:avLst/>
            <a:gdLst>
              <a:gd name="connsiteX0" fmla="*/ 53674 w 6908798"/>
              <a:gd name="connsiteY0" fmla="*/ 0 h 3589020"/>
              <a:gd name="connsiteX1" fmla="*/ 6855124 w 6908798"/>
              <a:gd name="connsiteY1" fmla="*/ 0 h 3589020"/>
              <a:gd name="connsiteX2" fmla="*/ 6890963 w 6908798"/>
              <a:gd name="connsiteY2" fmla="*/ 208491 h 3589020"/>
              <a:gd name="connsiteX3" fmla="*/ 6908798 w 6908798"/>
              <a:gd name="connsiteY3" fmla="*/ 522069 h 3589020"/>
              <a:gd name="connsiteX4" fmla="*/ 3454399 w 6908798"/>
              <a:gd name="connsiteY4" fmla="*/ 3589020 h 3589020"/>
              <a:gd name="connsiteX5" fmla="*/ 0 w 6908798"/>
              <a:gd name="connsiteY5" fmla="*/ 522069 h 3589020"/>
              <a:gd name="connsiteX6" fmla="*/ 17835 w 6908798"/>
              <a:gd name="connsiteY6" fmla="*/ 208491 h 358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8798" h="3589020">
                <a:moveTo>
                  <a:pt x="53674" y="0"/>
                </a:moveTo>
                <a:lnTo>
                  <a:pt x="6855124" y="0"/>
                </a:lnTo>
                <a:lnTo>
                  <a:pt x="6890963" y="208491"/>
                </a:lnTo>
                <a:cubicBezTo>
                  <a:pt x="6902757" y="311593"/>
                  <a:pt x="6908798" y="416205"/>
                  <a:pt x="6908798" y="522069"/>
                </a:cubicBezTo>
                <a:cubicBezTo>
                  <a:pt x="6908798" y="2215899"/>
                  <a:pt x="5362211" y="3589020"/>
                  <a:pt x="3454399" y="3589020"/>
                </a:cubicBezTo>
                <a:cubicBezTo>
                  <a:pt x="1546587" y="3589020"/>
                  <a:pt x="0" y="2215899"/>
                  <a:pt x="0" y="522069"/>
                </a:cubicBezTo>
                <a:cubicBezTo>
                  <a:pt x="0" y="416205"/>
                  <a:pt x="6042" y="311593"/>
                  <a:pt x="17835" y="208491"/>
                </a:cubicBezTo>
                <a:close/>
              </a:path>
            </a:pathLst>
          </a:custGeom>
          <a:solidFill>
            <a:srgbClr val="F3DED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5C2C1ED-04B4-4BB0-995F-FBE0210316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89258" y="1"/>
            <a:ext cx="6502743" cy="5821831"/>
          </a:xfrm>
          <a:custGeom>
            <a:avLst/>
            <a:gdLst>
              <a:gd name="connsiteX0" fmla="*/ 641777 w 6502743"/>
              <a:gd name="connsiteY0" fmla="*/ 0 h 5821831"/>
              <a:gd name="connsiteX1" fmla="*/ 6502743 w 6502743"/>
              <a:gd name="connsiteY1" fmla="*/ 0 h 5821831"/>
              <a:gd name="connsiteX2" fmla="*/ 6502743 w 6502743"/>
              <a:gd name="connsiteY2" fmla="*/ 4581393 h 5821831"/>
              <a:gd name="connsiteX3" fmla="*/ 6368283 w 6502743"/>
              <a:gd name="connsiteY3" fmla="*/ 4729320 h 5821831"/>
              <a:gd name="connsiteX4" fmla="*/ 3730454 w 6502743"/>
              <a:gd name="connsiteY4" fmla="*/ 5821831 h 5821831"/>
              <a:gd name="connsiteX5" fmla="*/ 0 w 6502743"/>
              <a:gd name="connsiteY5" fmla="*/ 2091765 h 5821831"/>
              <a:gd name="connsiteX6" fmla="*/ 637103 w 6502743"/>
              <a:gd name="connsiteY6" fmla="*/ 6249 h 5821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2743" h="5821831">
                <a:moveTo>
                  <a:pt x="641777" y="0"/>
                </a:moveTo>
                <a:lnTo>
                  <a:pt x="6502743" y="0"/>
                </a:lnTo>
                <a:lnTo>
                  <a:pt x="6502743" y="4581393"/>
                </a:lnTo>
                <a:lnTo>
                  <a:pt x="6368283" y="4729320"/>
                </a:lnTo>
                <a:cubicBezTo>
                  <a:pt x="5693204" y="5404330"/>
                  <a:pt x="4760591" y="5821831"/>
                  <a:pt x="3730454" y="5821831"/>
                </a:cubicBezTo>
                <a:cubicBezTo>
                  <a:pt x="1670181" y="5821831"/>
                  <a:pt x="0" y="4151824"/>
                  <a:pt x="0" y="2091765"/>
                </a:cubicBezTo>
                <a:cubicBezTo>
                  <a:pt x="0" y="1319243"/>
                  <a:pt x="234870" y="601572"/>
                  <a:pt x="637103" y="6249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4952257"/>
            <a:ext cx="5912646" cy="969496"/>
          </a:xfrm>
        </p:spPr>
        <p:txBody>
          <a:bodyPr anchor="b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5976769"/>
            <a:ext cx="591264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0380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7CC54D-2DC9-48B2-9120-D93F728550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B2FE8A8-D76E-449B-9226-24FC2258849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3E1D7BB8-B7E0-4C40-B081-6B8B4100FF7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61618193-91F3-4633-AF08-71C2D692B01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C1EA0EA8-9984-4892-BBD2-610B78FD97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67C023F-45C9-4C10-A2C9-E1C6D66C3B1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6DF5DEA-4A8C-4684-BC3D-9C6A3A811E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BA3F25F2-9508-42A0-840B-E7E985081894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A5B266FE-E34E-459D-BC5D-579A95FFD8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6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27685B99-DBD0-42BF-9349-FCF2FDA747A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5258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D22E757-EFE7-4496-8FCA-C88C207173B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5310" y="0"/>
            <a:ext cx="5885376" cy="4521285"/>
          </a:xfrm>
          <a:custGeom>
            <a:avLst/>
            <a:gdLst>
              <a:gd name="connsiteX0" fmla="*/ 461865 w 5885376"/>
              <a:gd name="connsiteY0" fmla="*/ 0 h 4521285"/>
              <a:gd name="connsiteX1" fmla="*/ 5423511 w 5885376"/>
              <a:gd name="connsiteY1" fmla="*/ 0 h 4521285"/>
              <a:gd name="connsiteX2" fmla="*/ 5530209 w 5885376"/>
              <a:gd name="connsiteY2" fmla="*/ 175643 h 4521285"/>
              <a:gd name="connsiteX3" fmla="*/ 5885376 w 5885376"/>
              <a:gd name="connsiteY3" fmla="*/ 1578398 h 4521285"/>
              <a:gd name="connsiteX4" fmla="*/ 2942688 w 5885376"/>
              <a:gd name="connsiteY4" fmla="*/ 4521285 h 4521285"/>
              <a:gd name="connsiteX5" fmla="*/ 0 w 5885376"/>
              <a:gd name="connsiteY5" fmla="*/ 1578398 h 4521285"/>
              <a:gd name="connsiteX6" fmla="*/ 355167 w 5885376"/>
              <a:gd name="connsiteY6" fmla="*/ 175643 h 4521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85376" h="4521285">
                <a:moveTo>
                  <a:pt x="461865" y="0"/>
                </a:moveTo>
                <a:lnTo>
                  <a:pt x="5423511" y="0"/>
                </a:lnTo>
                <a:lnTo>
                  <a:pt x="5530209" y="175643"/>
                </a:lnTo>
                <a:cubicBezTo>
                  <a:pt x="5756715" y="592630"/>
                  <a:pt x="5885376" y="1070488"/>
                  <a:pt x="5885376" y="1578398"/>
                </a:cubicBezTo>
                <a:cubicBezTo>
                  <a:pt x="5885376" y="3203710"/>
                  <a:pt x="4567890" y="4521285"/>
                  <a:pt x="2942688" y="4521285"/>
                </a:cubicBezTo>
                <a:cubicBezTo>
                  <a:pt x="1317486" y="4521285"/>
                  <a:pt x="0" y="3203710"/>
                  <a:pt x="0" y="1578398"/>
                </a:cubicBezTo>
                <a:cubicBezTo>
                  <a:pt x="0" y="1070488"/>
                  <a:pt x="128661" y="592630"/>
                  <a:pt x="355167" y="175643"/>
                </a:cubicBezTo>
                <a:close/>
              </a:path>
            </a:pathLst>
          </a:custGeom>
          <a:solidFill>
            <a:srgbClr val="D9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F73AC3B-A4A9-4926-98E2-D54C056F90E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34350" y="1270489"/>
            <a:ext cx="6757650" cy="5587512"/>
          </a:xfrm>
          <a:custGeom>
            <a:avLst/>
            <a:gdLst>
              <a:gd name="connsiteX0" fmla="*/ 3737429 w 6757650"/>
              <a:gd name="connsiteY0" fmla="*/ 0 h 5587512"/>
              <a:gd name="connsiteX1" fmla="*/ 6621411 w 6757650"/>
              <a:gd name="connsiteY1" fmla="*/ 1360397 h 5587512"/>
              <a:gd name="connsiteX2" fmla="*/ 6757650 w 6757650"/>
              <a:gd name="connsiteY2" fmla="*/ 1542630 h 5587512"/>
              <a:gd name="connsiteX3" fmla="*/ 6757650 w 6757650"/>
              <a:gd name="connsiteY3" fmla="*/ 5587512 h 5587512"/>
              <a:gd name="connsiteX4" fmla="*/ 491968 w 6757650"/>
              <a:gd name="connsiteY4" fmla="*/ 5587512 h 5587512"/>
              <a:gd name="connsiteX5" fmla="*/ 451088 w 6757650"/>
              <a:gd name="connsiteY5" fmla="*/ 5520206 h 5587512"/>
              <a:gd name="connsiteX6" fmla="*/ 0 w 6757650"/>
              <a:gd name="connsiteY6" fmla="*/ 3738307 h 5587512"/>
              <a:gd name="connsiteX7" fmla="*/ 3737429 w 6757650"/>
              <a:gd name="connsiteY7" fmla="*/ 0 h 5587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57650" h="5587512">
                <a:moveTo>
                  <a:pt x="3737429" y="0"/>
                </a:moveTo>
                <a:cubicBezTo>
                  <a:pt x="4898499" y="0"/>
                  <a:pt x="5935911" y="529568"/>
                  <a:pt x="6621411" y="1360397"/>
                </a:cubicBezTo>
                <a:lnTo>
                  <a:pt x="6757650" y="1542630"/>
                </a:lnTo>
                <a:lnTo>
                  <a:pt x="6757650" y="5587512"/>
                </a:lnTo>
                <a:lnTo>
                  <a:pt x="491968" y="5587512"/>
                </a:lnTo>
                <a:lnTo>
                  <a:pt x="451088" y="5520206"/>
                </a:lnTo>
                <a:cubicBezTo>
                  <a:pt x="163409" y="4990513"/>
                  <a:pt x="0" y="4383498"/>
                  <a:pt x="0" y="3738307"/>
                </a:cubicBezTo>
                <a:cubicBezTo>
                  <a:pt x="0" y="1673697"/>
                  <a:pt x="1673304" y="0"/>
                  <a:pt x="373742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1015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1367221"/>
            <a:ext cx="5614196" cy="969496"/>
          </a:xfrm>
        </p:spPr>
        <p:txBody>
          <a:bodyPr anchor="ctr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2556833"/>
            <a:ext cx="561419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E1BA9-A908-4A48-A0A6-59B33BE169B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A1CC3DA1-6E86-4C3A-B22E-95896C5B284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F58B9B1-B8B4-4686-95DA-24EC9795FA3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2F8CF7-A768-4FDA-B0E0-9D9BFBF0536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8EC9EC8E-BBE1-4C9B-B12F-C37E3754342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1D75CE87-EA9B-47E7-853C-FAC43232B17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F213F449-5667-488C-B67F-599AB7F3199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5" name="addin_image" hidden="1">
            <a:extLst>
              <a:ext uri="{FF2B5EF4-FFF2-40B4-BE49-F238E27FC236}">
                <a16:creationId xmlns:a16="http://schemas.microsoft.com/office/drawing/2014/main" id="{92472BBB-FF87-41B4-95E1-040D828D78AC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5BEB4A14-EB37-4AD9-AB76-59D2D94DA0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7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4B4E17-BE15-48DE-96BB-67F3635A6A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2030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Bak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9BB2EB-AC30-458C-8A51-78396746304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394140" y="3746500"/>
            <a:ext cx="7797860" cy="3111500"/>
          </a:xfrm>
          <a:prstGeom prst="round1Rect">
            <a:avLst>
              <a:gd name="adj" fmla="val 50000"/>
            </a:avLst>
          </a:prstGeo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129452"/>
            <a:ext cx="4077436" cy="2308324"/>
          </a:xfrm>
        </p:spPr>
        <p:txBody>
          <a:bodyPr>
            <a:noAutofit/>
          </a:bodyPr>
          <a:lstStyle>
            <a:lvl1pPr marL="0" indent="0">
              <a:buNone/>
              <a:defRPr sz="150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95900" y="4231704"/>
            <a:ext cx="6681674" cy="9685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000">
                <a:solidFill>
                  <a:schemeClr val="bg1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295900" y="5385925"/>
            <a:ext cx="6681674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bg1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D686DF5-6783-49D1-A41E-12D23A566A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59C43119-D1A7-415A-9B56-BB4C24B48D44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B3653F2D-47AC-43E1-A4F9-A6890FE46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6546765-0756-4B17-9E12-187EA7A828E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184A1887-91A2-4FF0-90C1-337F68E109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title" hidden="1">
            <a:extLst>
              <a:ext uri="{FF2B5EF4-FFF2-40B4-BE49-F238E27FC236}">
                <a16:creationId xmlns:a16="http://schemas.microsoft.com/office/drawing/2014/main" id="{F5BC4CF7-4561-4A71-AF04-561C00C4AD4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863F087-9D6E-4220-8839-5C80E284A31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84A80EA-372E-4020-AAFF-EA2E11888C8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DE3EFA86-4F0D-4D8F-A8A2-EC95FFEC0C4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78094E57-1498-4720-9192-5355193F41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7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23CE88B8-65DD-42E1-ACD5-E87DA43C93C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1439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7958934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9050" y="1695768"/>
            <a:ext cx="698658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E6BAA0E-1B86-4920-A1B2-C297FAE1CDE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2FBF37D-5623-4C94-95F7-6B688EA5553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D34625E-682F-408E-9E14-44E86352C20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C088646E-0C10-49D0-94E8-3DB163FA2C4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3FAED136-CB72-41E9-B69D-5D4265BCF283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030D9758-64E0-4C2C-B06A-CF33C984FB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1E9C160B-0092-42DA-9F24-0CD3E8D3FC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F8B621-0985-46F8-805B-7FF310B154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9051" y="2216151"/>
            <a:ext cx="6986849" cy="33337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0" name="logo_blaa" hidden="1">
            <a:extLst>
              <a:ext uri="{FF2B5EF4-FFF2-40B4-BE49-F238E27FC236}">
                <a16:creationId xmlns:a16="http://schemas.microsoft.com/office/drawing/2014/main" id="{030202D7-8F02-4EB1-BFF5-18A58C24BB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4436885-A49E-4727-B5D9-3ECA58CD8E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5961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984" y="1695768"/>
            <a:ext cx="8237830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0D86FDA6-32A9-4186-AFB3-2EB461FDB8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0918BD1B-00D5-42DF-8027-0E271560CF36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0184F0D-42BD-4F7D-A667-285A14FFD8D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0FE005F2-94D0-48ED-8E0B-9E95AB0F7A8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DABB563F-C536-4E6B-8FAB-1661085EA02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942B9FD-E5B3-491C-8BD8-EF75F4DDADF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53812EEB-671E-4246-B775-9DDF0E16485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7FE5726C-38E7-483F-A737-043513F3D34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3983" y="2216149"/>
            <a:ext cx="8237830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5128B4D9-0610-4A68-A377-C67E4909A5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3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77F2A18-28AA-4D01-B10F-9A5B111D00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272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002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3DDD0D1-7607-4D30-B017-29557565B7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24148" y="0"/>
            <a:ext cx="9467852" cy="5341258"/>
          </a:xfrm>
          <a:custGeom>
            <a:avLst/>
            <a:gdLst>
              <a:gd name="connsiteX0" fmla="*/ 13212 w 9467852"/>
              <a:gd name="connsiteY0" fmla="*/ 0 h 5341258"/>
              <a:gd name="connsiteX1" fmla="*/ 9467852 w 9467852"/>
              <a:gd name="connsiteY1" fmla="*/ 0 h 5341258"/>
              <a:gd name="connsiteX2" fmla="*/ 9467852 w 9467852"/>
              <a:gd name="connsiteY2" fmla="*/ 2559831 h 5341258"/>
              <a:gd name="connsiteX3" fmla="*/ 9387475 w 9467852"/>
              <a:gd name="connsiteY3" fmla="*/ 2726709 h 5341258"/>
              <a:gd name="connsiteX4" fmla="*/ 4995184 w 9467852"/>
              <a:gd name="connsiteY4" fmla="*/ 5341258 h 5341258"/>
              <a:gd name="connsiteX5" fmla="*/ 0 w 9467852"/>
              <a:gd name="connsiteY5" fmla="*/ 345373 h 5341258"/>
              <a:gd name="connsiteX6" fmla="*/ 6500 w 9467852"/>
              <a:gd name="connsiteY6" fmla="*/ 88286 h 534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67852" h="5341258">
                <a:moveTo>
                  <a:pt x="13212" y="0"/>
                </a:moveTo>
                <a:lnTo>
                  <a:pt x="9467852" y="0"/>
                </a:lnTo>
                <a:lnTo>
                  <a:pt x="9467852" y="2559831"/>
                </a:lnTo>
                <a:lnTo>
                  <a:pt x="9387475" y="2726709"/>
                </a:lnTo>
                <a:cubicBezTo>
                  <a:pt x="8541594" y="4284052"/>
                  <a:pt x="6891833" y="5341258"/>
                  <a:pt x="4995184" y="5341258"/>
                </a:cubicBezTo>
                <a:cubicBezTo>
                  <a:pt x="2236421" y="5341258"/>
                  <a:pt x="0" y="3104524"/>
                  <a:pt x="0" y="345373"/>
                </a:cubicBezTo>
                <a:cubicBezTo>
                  <a:pt x="0" y="259150"/>
                  <a:pt x="2184" y="173436"/>
                  <a:pt x="6500" y="88286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54327" y="50800"/>
            <a:ext cx="6837674" cy="6807200"/>
          </a:xfrm>
          <a:custGeom>
            <a:avLst/>
            <a:gdLst>
              <a:gd name="connsiteX0" fmla="*/ 6805412 w 6837674"/>
              <a:gd name="connsiteY0" fmla="*/ 0 h 6807200"/>
              <a:gd name="connsiteX1" fmla="*/ 6837674 w 6837674"/>
              <a:gd name="connsiteY1" fmla="*/ 822 h 6807200"/>
              <a:gd name="connsiteX2" fmla="*/ 6837674 w 6837674"/>
              <a:gd name="connsiteY2" fmla="*/ 6807200 h 6807200"/>
              <a:gd name="connsiteX3" fmla="*/ 0 w 6837674"/>
              <a:gd name="connsiteY3" fmla="*/ 6807200 h 6807200"/>
              <a:gd name="connsiteX4" fmla="*/ 7582 w 6837674"/>
              <a:gd name="connsiteY4" fmla="*/ 6505088 h 6807200"/>
              <a:gd name="connsiteX5" fmla="*/ 6805412 w 6837674"/>
              <a:gd name="connsiteY5" fmla="*/ 0 h 680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7674" h="6807200">
                <a:moveTo>
                  <a:pt x="6805412" y="0"/>
                </a:moveTo>
                <a:lnTo>
                  <a:pt x="6837674" y="822"/>
                </a:lnTo>
                <a:lnTo>
                  <a:pt x="6837674" y="6807200"/>
                </a:lnTo>
                <a:lnTo>
                  <a:pt x="0" y="6807200"/>
                </a:lnTo>
                <a:lnTo>
                  <a:pt x="7582" y="6505088"/>
                </a:lnTo>
                <a:cubicBezTo>
                  <a:pt x="189887" y="2881528"/>
                  <a:pt x="3163658" y="0"/>
                  <a:pt x="6805412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6821C79A-09F0-415C-ABA8-F68C1FBFB8B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68399" y="2474118"/>
            <a:ext cx="2082800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9E87C030-834C-4DD1-ACF4-9E176AA7FB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9635" y="2474118"/>
            <a:ext cx="308763" cy="2398823"/>
          </a:xfrm>
        </p:spPr>
        <p:txBody>
          <a:bodyPr/>
          <a:lstStyle>
            <a:lvl1pPr marL="0" indent="0">
              <a:spcBef>
                <a:spcPts val="1100"/>
              </a:spcBef>
              <a:buNone/>
              <a:defRPr sz="1800">
                <a:solidFill>
                  <a:schemeClr val="bg1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F1A815E2-8392-4901-B494-FC72347B46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D4BFF5A0-D5F1-466F-8F8F-752A0CF7B9F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2703FF8-08E6-435B-BC69-B46322B3C88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86BCDAB5-94E1-4029-873A-6AAA0DF90F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420A2D1-A6FA-4817-8190-221B5B1AC7F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39DA551-001F-4769-BA32-95ED85E0D8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DA1777B3-13AE-4111-8C56-F4E837BF47B8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F74E35BB-3239-4B07-AEB8-6D0E5BDC129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C919F145-E35F-7EA6-E82D-389A777A9A41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18" name="logo_hvit" hidden="1">
            <a:extLst>
              <a:ext uri="{FF2B5EF4-FFF2-40B4-BE49-F238E27FC236}">
                <a16:creationId xmlns:a16="http://schemas.microsoft.com/office/drawing/2014/main" id="{BD1C3E5D-2BB4-1BB4-451B-424CDA1F44F8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6807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tekst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525110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88256" y="1695768"/>
            <a:ext cx="10553558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8C82DF-AABB-4910-AAF7-401C50AD3C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607BA65C-409C-495A-A826-A9EC045259F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935AD07-038A-4101-8144-4B09CAED498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D357C967-5FB7-49AB-920C-1F53E57063A1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80019DA8-1266-4502-94C3-01CC09A2BD1A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AA14CF9A-9970-43D9-92B0-5A729151571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E05A82BB-796B-4BD1-B6FA-858F3648C4E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1F1C9804-CF58-42D2-9F31-B4AF21DCFDA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288255" y="2216149"/>
            <a:ext cx="10553558" cy="3815422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1265DC9C-446D-471C-9CC6-9F5EE7E90BF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2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D1F0E8-CDA5-4771-8B7B-8C051CCE196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0221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CF321DF-3A33-4CC1-B5B4-4FEC55D27EC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392F2E7-3B07-419D-B3BD-4D2B0A9B9A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912" y="233096"/>
            <a:ext cx="5589587" cy="341313"/>
          </a:xfrm>
        </p:spPr>
        <p:txBody>
          <a:bodyPr/>
          <a:lstStyle>
            <a:lvl1pPr marL="0" indent="0">
              <a:buNone/>
              <a:defRPr sz="1000">
                <a:solidFill>
                  <a:srgbClr val="00207D"/>
                </a:solidFill>
              </a:defRPr>
            </a:lvl1pPr>
          </a:lstStyle>
          <a:p>
            <a:pPr lvl="0"/>
            <a:r>
              <a:rPr lang="en-US" dirty="0" err="1"/>
              <a:t>Deskriptor</a:t>
            </a:r>
            <a:r>
              <a:rPr lang="en-US" dirty="0"/>
              <a:t> for </a:t>
            </a:r>
            <a:r>
              <a:rPr lang="en-US" dirty="0" err="1"/>
              <a:t>bild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8628ED4-BEC0-4634-8E8D-6E8B1F0192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A078E940-72D0-42A4-93F1-0ED159E95F5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D37F48B1-7ACE-4F4E-8A31-8FF315C54D1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8F4AEB-14D2-4216-AC0E-A75496A332B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C1F6EC1-046D-4D1B-ACDF-11EC0B74914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F98C4818-990B-4A03-A765-145459C6F9E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DF3A714-D07A-4DCB-BE64-85ABAC3DA10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EA4FB2CF-9FF1-4850-8037-423724FE76A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577E44D0-6E18-4464-AA46-505BD8E43B3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3932BAD-EFF5-412E-A960-7D42348E32D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CF3CA6BA-4CF6-4BDA-BB98-F2AEBC24FC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D41B949A-DD21-4706-AC94-4A4CB79FE98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2127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6392DCB-D9F5-45C4-91D7-0EC3B95F3B0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999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B83287C-1B6D-42A7-B810-707CF609657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52C60E8-6184-4E09-BFB9-914124AA58A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4F4C1600-3FC9-4DE3-AE62-F70A46786D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4F33EF02-B40B-40D4-BCF1-E6DD8A71FA09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3FDBBF1B-E505-4C56-B7B9-E7A60C1AB33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A57301C-BDC3-4E80-B43E-AD9F9CA9505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D171F4EA-811C-4530-8202-F7F86CC5E3C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BED07210-E86B-4E5E-B346-60D1CAFCC6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DefLogoHvit" hidden="1">
            <a:extLst>
              <a:ext uri="{FF2B5EF4-FFF2-40B4-BE49-F238E27FC236}">
                <a16:creationId xmlns:a16="http://schemas.microsoft.com/office/drawing/2014/main" id="{BC632F05-D42F-449E-9874-9E9ECBD0D897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15EF44-DFF9-4153-9226-166E215234C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FBF62A52-AAE8-470D-AE02-4297D9E069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6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A71E638-B679-48BB-9B35-B24BA56BFE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0065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EA8A8A2A-6A3B-44AB-8647-260EC7923E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100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100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839F9B-ED44-48F4-B5D6-98DC325BA7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286502" y="1033150"/>
            <a:ext cx="5905498" cy="5824850"/>
          </a:xfrm>
          <a:custGeom>
            <a:avLst/>
            <a:gdLst>
              <a:gd name="connsiteX0" fmla="*/ 3467099 w 5905498"/>
              <a:gd name="connsiteY0" fmla="*/ 0 h 5824850"/>
              <a:gd name="connsiteX1" fmla="*/ 5672496 w 5905498"/>
              <a:gd name="connsiteY1" fmla="*/ 791717 h 5824850"/>
              <a:gd name="connsiteX2" fmla="*/ 5905498 w 5905498"/>
              <a:gd name="connsiteY2" fmla="*/ 1003484 h 5824850"/>
              <a:gd name="connsiteX3" fmla="*/ 5905498 w 5905498"/>
              <a:gd name="connsiteY3" fmla="*/ 5824850 h 5824850"/>
              <a:gd name="connsiteX4" fmla="*/ 930186 w 5905498"/>
              <a:gd name="connsiteY4" fmla="*/ 5824850 h 5824850"/>
              <a:gd name="connsiteX5" fmla="*/ 791717 w 5905498"/>
              <a:gd name="connsiteY5" fmla="*/ 5672496 h 5824850"/>
              <a:gd name="connsiteX6" fmla="*/ 0 w 5905498"/>
              <a:gd name="connsiteY6" fmla="*/ 3467099 h 5824850"/>
              <a:gd name="connsiteX7" fmla="*/ 3467099 w 5905498"/>
              <a:gd name="connsiteY7" fmla="*/ 0 h 582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05498" h="5824850">
                <a:moveTo>
                  <a:pt x="3467099" y="0"/>
                </a:moveTo>
                <a:cubicBezTo>
                  <a:pt x="4304836" y="0"/>
                  <a:pt x="5073177" y="297115"/>
                  <a:pt x="5672496" y="791717"/>
                </a:cubicBezTo>
                <a:lnTo>
                  <a:pt x="5905498" y="1003484"/>
                </a:lnTo>
                <a:lnTo>
                  <a:pt x="5905498" y="5824850"/>
                </a:lnTo>
                <a:lnTo>
                  <a:pt x="930186" y="5824850"/>
                </a:lnTo>
                <a:lnTo>
                  <a:pt x="791717" y="5672496"/>
                </a:lnTo>
                <a:cubicBezTo>
                  <a:pt x="297115" y="5073177"/>
                  <a:pt x="0" y="4304836"/>
                  <a:pt x="0" y="3467099"/>
                </a:cubicBezTo>
                <a:cubicBezTo>
                  <a:pt x="0" y="1552273"/>
                  <a:pt x="1552273" y="0"/>
                  <a:pt x="3467099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67A3724A-72BC-42E3-8293-CEEEDB61EA7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8640090-8497-49ED-8086-A1BA316162E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53204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 nede, sirkel, liten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D115F76-499E-4BA8-ACCD-A3E76104C3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8" y="3714716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  <a:solidFill>
            <a:srgbClr val="002776"/>
          </a:solidFill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5588796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5589587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55887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8832CADD-DDDE-4851-8BD1-99710FABB5E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DFDA5939-391C-41D0-8F21-DD084424DB59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41D1CBCC-8E3A-47BE-982B-49EC2954D30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6793D32F-7B07-46C0-A33B-03EB8B18EE8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8764E46-805A-407F-96C5-5A83D097195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04C9A61-3DE7-4BB7-AD6F-13FF004746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1359F353-A991-43DF-8E05-D685ABD656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DA7D6A04-F3CF-46DC-9183-2173EDE5C74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E7E4907A-1620-4FFD-9C4A-1747B90959E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0041E85E-F425-444C-8552-A079AFFD576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920288" y="2667000"/>
            <a:ext cx="4271712" cy="4191000"/>
          </a:xfrm>
          <a:custGeom>
            <a:avLst/>
            <a:gdLst>
              <a:gd name="connsiteX0" fmla="*/ 2654198 w 4271712"/>
              <a:gd name="connsiteY0" fmla="*/ 0 h 4191000"/>
              <a:gd name="connsiteX1" fmla="*/ 4138185 w 4271712"/>
              <a:gd name="connsiteY1" fmla="*/ 453313 h 4191000"/>
              <a:gd name="connsiteX2" fmla="*/ 4271712 w 4271712"/>
              <a:gd name="connsiteY2" fmla="*/ 553166 h 4191000"/>
              <a:gd name="connsiteX3" fmla="*/ 4271712 w 4271712"/>
              <a:gd name="connsiteY3" fmla="*/ 4191000 h 4191000"/>
              <a:gd name="connsiteX4" fmla="*/ 492669 w 4271712"/>
              <a:gd name="connsiteY4" fmla="*/ 4191000 h 4191000"/>
              <a:gd name="connsiteX5" fmla="*/ 453296 w 4271712"/>
              <a:gd name="connsiteY5" fmla="*/ 4138345 h 4191000"/>
              <a:gd name="connsiteX6" fmla="*/ 0 w 4271712"/>
              <a:gd name="connsiteY6" fmla="*/ 2654300 h 4191000"/>
              <a:gd name="connsiteX7" fmla="*/ 2654198 w 4271712"/>
              <a:gd name="connsiteY7" fmla="*/ 0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71712" h="4191000">
                <a:moveTo>
                  <a:pt x="2654198" y="0"/>
                </a:moveTo>
                <a:cubicBezTo>
                  <a:pt x="3203901" y="0"/>
                  <a:pt x="3714573" y="167115"/>
                  <a:pt x="4138185" y="453313"/>
                </a:cubicBezTo>
                <a:lnTo>
                  <a:pt x="4271712" y="553166"/>
                </a:lnTo>
                <a:lnTo>
                  <a:pt x="4271712" y="4191000"/>
                </a:lnTo>
                <a:lnTo>
                  <a:pt x="492669" y="4191000"/>
                </a:lnTo>
                <a:lnTo>
                  <a:pt x="453296" y="4138345"/>
                </a:lnTo>
                <a:cubicBezTo>
                  <a:pt x="167109" y="3714715"/>
                  <a:pt x="0" y="3204024"/>
                  <a:pt x="0" y="2654300"/>
                </a:cubicBezTo>
                <a:cubicBezTo>
                  <a:pt x="0" y="1188371"/>
                  <a:pt x="1188325" y="0"/>
                  <a:pt x="2654198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1C7363BF-DD46-48AA-9DAD-00B3ACFB23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C41B299-9C9A-4202-A313-FF0A80BABFD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1821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 (Høyre)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B906783-82F7-4F06-A909-92414CF278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 anchor="t"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372FE5E-CAA5-4EE3-813D-053EE9B99F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DE1AB944-55F7-447E-B1B0-7777CEB8144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3C3E6D96-3091-423E-B530-6AA7F835351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865A7262-53CB-411A-B2DD-5D7B09996073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4363F96A-DC31-41C7-A2CA-C1A3F458F8B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CE2A7C8C-4183-49E0-A81F-A87C95D40E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17877C-C149-4333-893F-07266CF802A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139D70A2-5F98-4E2C-B189-EE2B4FDCCAD5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BD390523-127C-4A96-AEC0-9D4C14B03B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3041F739-C6C8-45A7-9C0D-685B68A2F2D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F2E16B7E-1832-4A1C-881A-B121241BBC9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E6A91A12-217A-41B3-B7F8-2CB1195EDD4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7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F401495-9357-4FA1-B9B0-EC51595616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892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Høyre)  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D26DCF0-7676-47A4-8E76-C67AEF8C71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10808" y="0"/>
            <a:ext cx="8281191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909186"/>
            <a:ext cx="3378995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91BBE4D-FB44-4962-925F-F6BE393243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007968"/>
            <a:ext cx="3378996" cy="3685222"/>
          </a:xfrm>
        </p:spPr>
        <p:txBody>
          <a:bodyPr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9902AC6-0866-4866-BEB8-3EF36AE083A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86E4A578-2604-4EF1-A112-B6EEBB1650D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53BD8B14-1016-4228-ABB8-79ED792B2B6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9D41E301-6567-4BD4-9BF8-E8D9532FBFF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DBE22B59-58E2-4A77-A9D7-CC7F38F62F49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24E36FD8-70FB-44F5-8C26-61B5CE08134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8BD79908-CF76-4F3E-A9EC-C9C524CEFC5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A2CF66BD-25DA-4FF6-9589-251CB8ECC82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4914B5D-5A23-45A9-B953-59A3D98BDE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29728"/>
            <a:ext cx="3378203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5" name="DefLogoHvit" hidden="1">
            <a:extLst>
              <a:ext uri="{FF2B5EF4-FFF2-40B4-BE49-F238E27FC236}">
                <a16:creationId xmlns:a16="http://schemas.microsoft.com/office/drawing/2014/main" id="{A9A38E28-BCBE-41B5-9F74-A416D15CB715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4013F9-6889-481B-A280-1985D2203EE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3911600" y="0"/>
            <a:ext cx="82804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7FAF83E7-4870-4745-8C9F-B73CE88646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7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6D7A9779-9D38-404F-A2CB-B3228F1341F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5402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innhold (Bak)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804E3D6-4D40-4358-A729-12DAF1794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1306508"/>
            <a:ext cx="5588796" cy="553998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08CD17-0B38-4678-850D-681E5D48C3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6704" y="2466340"/>
            <a:ext cx="5588796" cy="3685222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809DFD7-846F-4D35-ABD5-0307E9F723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985966"/>
            <a:ext cx="5589587" cy="341313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EBDE9C1-A6AF-42BB-AD3E-EC5033DF7D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881F7AB-121D-483A-BEEB-047633213E2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1F051DA2-02ED-4843-9F7B-A5F1B5FA1D4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737967A0-F11A-4DEB-8752-F51E6C30160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0BCBC18E-CFC3-4CBA-A77B-FCEE20A0D0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DAE9B024-9850-4644-969C-845FA2224C3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4C82FF42-4159-46F4-9A84-97CFCB2094A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A9A00501-7D4B-4A4A-9C7E-528975384D02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7EA08099-CF4B-47D5-AE1A-473F68B466AF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D222CCC4-5967-425C-B233-DC5D8D13AD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58092CA-F736-48B0-A87F-642C47EF0B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8716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D1BDE19F-A62C-4B9A-AABE-67AEE005F07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EBC2FE-C526-436E-92A8-F41BEC88E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C1482-4DCE-4760-BB1B-AA0BD5231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753390-7EAC-454F-8E00-C2586B5C3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D5AB121-B777-4009-80C1-75B8761B0C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138087C-6F4A-4D28-8FDF-F085F699A2C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6706D5D-D638-4DB1-9AC8-CD8309B275C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06DEFD4A-FB2F-46A7-8EFB-9873F806D4F0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5848A094-42A0-4FA4-B133-A3B7A7B39B0F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15ECCDD0-B9DF-490B-8070-810E4261072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20FD1917-1441-4832-9EC0-0D1DABCB58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757AAD15-4D1F-4961-B536-5ECA1FDCBEF9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9207E573-3D16-4F72-83D9-249A5604221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9" name="logo_blaa" hidden="1">
            <a:extLst>
              <a:ext uri="{FF2B5EF4-FFF2-40B4-BE49-F238E27FC236}">
                <a16:creationId xmlns:a16="http://schemas.microsoft.com/office/drawing/2014/main" id="{7B356965-9FE9-4105-8480-8107EA1B8F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0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AD47257E-10C4-4B1A-BEF8-6BCF0853CA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0168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2C17378-974D-4128-8D5E-84FC6512327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AC295C1-C2D0-4B81-AFB0-17F1A5F19B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26380" y="3247853"/>
            <a:ext cx="6865620" cy="3610147"/>
          </a:xfrm>
          <a:prstGeom prst="round1Rect">
            <a:avLst>
              <a:gd name="adj" fmla="val 39195"/>
            </a:avLst>
          </a:prstGeom>
          <a:solidFill>
            <a:srgbClr val="FDF3F2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970" y="4257902"/>
            <a:ext cx="4607604" cy="39405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54B4CF32-5696-483C-9E36-AECAC554DB5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718968E-017F-4F68-8388-B2E458897EF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95677D21-AB8E-4EAE-937F-550723AA605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0DA2D151-1A8B-4DE7-921B-4788399FB6A8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3A0026-16AF-4E57-831A-D74BAFCE142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E142F18-FA97-44F7-B279-1943E3BC51B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366C5A4A-E52D-4E55-82D4-F2A3DEF0988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C71F8D16-8429-46C8-A55F-53113E72FB3A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6D5F194-6865-43D1-A2E9-4920E38BE83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369971" y="4792663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C10D3FA7-3890-4B7A-A89F-436FC9A2D6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6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91B0AE87-2A1D-4279-8861-AF847FA26F7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996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(Bullets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3A59F704-09FE-40D6-8B3A-C17C4994A69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5999" y="0"/>
            <a:ext cx="6096001" cy="685800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4826796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FF05E5-4985-4C05-9562-7EDA2EA06FC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9635" y="2474119"/>
            <a:ext cx="4283866" cy="2398823"/>
          </a:xfrm>
          <a:prstGeom prst="rect">
            <a:avLst/>
          </a:prstGeom>
        </p:spPr>
        <p:txBody>
          <a:bodyPr lIns="0" tIns="0" rIns="0" bIns="0"/>
          <a:lstStyle>
            <a:lvl1pPr marL="2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7452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3pPr>
            <a:lvl4pPr marL="163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4pPr>
            <a:lvl5pPr marL="2088000" indent="-288000">
              <a:buFont typeface="Arial" panose="020B0604020202020204" pitchFamily="34" charset="0"/>
              <a:buChar char="•"/>
              <a:defRPr>
                <a:solidFill>
                  <a:schemeClr val="accent2"/>
                </a:solidFill>
                <a:latin typeface="SpareBank 1 Light" panose="020B0500030000000000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D9509D-1F87-4CAD-BC94-A4964D7947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74D0B008-DE7E-47CB-875B-CF47AB39A060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fargeboks3, clr_fargeboks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1BD67AD2-2095-475B-A5AD-628752A6DD2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7E11CD56-B9C0-419B-8A36-BB48536752F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C0093EA9-B48E-408D-BF34-563BEACBA4D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C32B9E1F-DA12-4F53-805F-DC377D7702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D6980C80-9C4B-40C0-9EBB-CAF66C85577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18C0116C-C2F0-4272-B65F-C60714918693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DefLogoHvit" hidden="1">
            <a:extLst>
              <a:ext uri="{FF2B5EF4-FFF2-40B4-BE49-F238E27FC236}">
                <a16:creationId xmlns:a16="http://schemas.microsoft.com/office/drawing/2014/main" id="{B7BC6600-B857-4DD2-B7C9-0E004A6DAE2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logo_blaa" hidden="1">
            <a:extLst>
              <a:ext uri="{FF2B5EF4-FFF2-40B4-BE49-F238E27FC236}">
                <a16:creationId xmlns:a16="http://schemas.microsoft.com/office/drawing/2014/main" id="{0633A360-B8D2-6CF2-7C19-4DC41E0BB8A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4" name="logo_hvit" hidden="1">
            <a:extLst>
              <a:ext uri="{FF2B5EF4-FFF2-40B4-BE49-F238E27FC236}">
                <a16:creationId xmlns:a16="http://schemas.microsoft.com/office/drawing/2014/main" id="{EBCB005C-CB70-F944-D341-9321FB1E44B3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0565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8E7BC67-93D3-4DE1-9069-B45F8FFA378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" y="0"/>
            <a:ext cx="609600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 hidden="1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4419600" y="4651956"/>
            <a:ext cx="7772400" cy="2206044"/>
          </a:xfrm>
          <a:custGeom>
            <a:avLst/>
            <a:gdLst>
              <a:gd name="connsiteX0" fmla="*/ 6126453 w 7772400"/>
              <a:gd name="connsiteY0" fmla="*/ 0 h 2206044"/>
              <a:gd name="connsiteX1" fmla="*/ 0 w 7772400"/>
              <a:gd name="connsiteY1" fmla="*/ 0 h 2206044"/>
              <a:gd name="connsiteX2" fmla="*/ 0 w 7772400"/>
              <a:gd name="connsiteY2" fmla="*/ 2206044 h 2206044"/>
              <a:gd name="connsiteX3" fmla="*/ 7772400 w 7772400"/>
              <a:gd name="connsiteY3" fmla="*/ 2206044 h 2206044"/>
              <a:gd name="connsiteX4" fmla="*/ 7772400 w 7772400"/>
              <a:gd name="connsiteY4" fmla="*/ 1645947 h 2206044"/>
              <a:gd name="connsiteX5" fmla="*/ 6126453 w 7772400"/>
              <a:gd name="connsiteY5" fmla="*/ 0 h 2206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72400" h="2206044">
                <a:moveTo>
                  <a:pt x="6126453" y="0"/>
                </a:moveTo>
                <a:lnTo>
                  <a:pt x="0" y="0"/>
                </a:lnTo>
                <a:lnTo>
                  <a:pt x="0" y="2206044"/>
                </a:lnTo>
                <a:lnTo>
                  <a:pt x="7772400" y="2206044"/>
                </a:lnTo>
                <a:lnTo>
                  <a:pt x="7772400" y="1645947"/>
                </a:lnTo>
                <a:cubicBezTo>
                  <a:pt x="7772400" y="736916"/>
                  <a:pt x="7035484" y="0"/>
                  <a:pt x="6126453" y="0"/>
                </a:cubicBezTo>
                <a:close/>
              </a:path>
            </a:pathLst>
          </a:cu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723901"/>
            <a:ext cx="4607762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CE135E41-F011-45ED-BC06-DEDEFCACBB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C9EA006E-2080-4935-92C8-631EA67245C5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3" name="addin_colorbox" hidden="1">
            <a:extLst>
              <a:ext uri="{FF2B5EF4-FFF2-40B4-BE49-F238E27FC236}">
                <a16:creationId xmlns:a16="http://schemas.microsoft.com/office/drawing/2014/main" id="{2FC96FE8-006C-4558-8BA8-53291D4137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4" name="addin_background" hidden="1">
            <a:extLst>
              <a:ext uri="{FF2B5EF4-FFF2-40B4-BE49-F238E27FC236}">
                <a16:creationId xmlns:a16="http://schemas.microsoft.com/office/drawing/2014/main" id="{366A9094-1F57-4D0B-A622-EDA13749F054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5" name="addin_logo" hidden="1">
            <a:extLst>
              <a:ext uri="{FF2B5EF4-FFF2-40B4-BE49-F238E27FC236}">
                <a16:creationId xmlns:a16="http://schemas.microsoft.com/office/drawing/2014/main" id="{34FCEA06-8CAE-4214-8ECB-62EE1CDCC7A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title" hidden="1">
            <a:extLst>
              <a:ext uri="{FF2B5EF4-FFF2-40B4-BE49-F238E27FC236}">
                <a16:creationId xmlns:a16="http://schemas.microsoft.com/office/drawing/2014/main" id="{66A5CB83-A611-486A-A11E-524EC248C2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FF933DB9-766C-426B-B11E-45A6BA6095A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 hidden="1">
            <a:extLst>
              <a:ext uri="{FF2B5EF4-FFF2-40B4-BE49-F238E27FC236}">
                <a16:creationId xmlns:a16="http://schemas.microsoft.com/office/drawing/2014/main" id="{4475D5B4-B04D-492A-BF9B-685A53F0430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15913" y="853321"/>
            <a:ext cx="5348287" cy="55399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Text Placeholder 1">
            <a:extLst>
              <a:ext uri="{FF2B5EF4-FFF2-40B4-BE49-F238E27FC236}">
                <a16:creationId xmlns:a16="http://schemas.microsoft.com/office/drawing/2014/main" id="{794821EF-9AF2-4167-BA65-8EAF8E8DEA4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085763" y="1196836"/>
            <a:ext cx="4607718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CA42C7DF-ED2B-443A-9FB1-BC0F52E371D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976813" y="5544693"/>
            <a:ext cx="7000761" cy="590549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0" name="logo_blaa" hidden="1">
            <a:extLst>
              <a:ext uri="{FF2B5EF4-FFF2-40B4-BE49-F238E27FC236}">
                <a16:creationId xmlns:a16="http://schemas.microsoft.com/office/drawing/2014/main" id="{D049CE4C-480D-40DF-9F8E-2098B28A82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3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2E829AC-0CCB-4698-B7B6-44D5505E72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9101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Høyre og venstre)">
    <p:bg>
      <p:bgPr>
        <a:solidFill>
          <a:srgbClr val="FBF2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FD96C6F-2B95-4858-B2FD-E57FE81F2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736080" y="0"/>
            <a:ext cx="5455920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F8DC9D5-24ED-458C-90BB-732F5F9D6B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0" y="0"/>
            <a:ext cx="6587243" cy="6858000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-1" y="0"/>
            <a:ext cx="658724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730171"/>
            <a:ext cx="6850742" cy="3127829"/>
          </a:xfrm>
          <a:prstGeom prst="round1Rect">
            <a:avLst>
              <a:gd name="adj" fmla="val 44896"/>
            </a:avLst>
          </a:prstGeom>
          <a:solidFill>
            <a:srgbClr val="D8D8E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5347826" cy="553998"/>
          </a:xfrm>
        </p:spPr>
        <p:txBody>
          <a:bodyPr anchor="ctr"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853321"/>
            <a:ext cx="5348287" cy="553998"/>
          </a:xfrm>
        </p:spPr>
        <p:txBody>
          <a:bodyPr/>
          <a:lstStyle>
            <a:lvl1pPr marL="0" indent="0">
              <a:buNone/>
              <a:defRPr sz="1600"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85763" y="4729846"/>
            <a:ext cx="4891810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736080" y="0"/>
            <a:ext cx="5455919" cy="3730171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4744182F-BA54-48B0-B256-4947640EBA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1" name="addin_colorlist" hidden="1">
            <a:extLst>
              <a:ext uri="{FF2B5EF4-FFF2-40B4-BE49-F238E27FC236}">
                <a16:creationId xmlns:a16="http://schemas.microsoft.com/office/drawing/2014/main" id="{C273E00C-50FC-4C09-837B-667751499D42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2" name="addin_colorbox" hidden="1">
            <a:extLst>
              <a:ext uri="{FF2B5EF4-FFF2-40B4-BE49-F238E27FC236}">
                <a16:creationId xmlns:a16="http://schemas.microsoft.com/office/drawing/2014/main" id="{1136DBA2-434B-4983-86EB-77F8FA3578A7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EEA2228F-8BF9-4C93-9035-4B6EF6481C8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addin_logo" hidden="1">
            <a:extLst>
              <a:ext uri="{FF2B5EF4-FFF2-40B4-BE49-F238E27FC236}">
                <a16:creationId xmlns:a16="http://schemas.microsoft.com/office/drawing/2014/main" id="{BF822C3C-A96D-4C31-9A95-60C5B3D4B251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919718A-FF57-49A0-9771-B176C0DE0BB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6" name="addin_text" hidden="1">
            <a:extLst>
              <a:ext uri="{FF2B5EF4-FFF2-40B4-BE49-F238E27FC236}">
                <a16:creationId xmlns:a16="http://schemas.microsoft.com/office/drawing/2014/main" id="{84AA82A5-69A9-42C5-A00A-E051759316E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593EE2-8E41-475D-BA91-5A5948E62F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85762" y="5202781"/>
            <a:ext cx="4891811" cy="825155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0" name="logo_blaa" hidden="1">
            <a:extLst>
              <a:ext uri="{FF2B5EF4-FFF2-40B4-BE49-F238E27FC236}">
                <a16:creationId xmlns:a16="http://schemas.microsoft.com/office/drawing/2014/main" id="{B712C177-4031-48DA-82E3-88BE6F4B0E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3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05B1834-9646-42E5-A7B8-F2738995C7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2990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Venst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F9CB0EE-AD99-4A11-AADA-C4A4009C79B3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0" y="0"/>
            <a:ext cx="7353300" cy="6858000"/>
          </a:xfrm>
          <a:prstGeom prst="round1Rect">
            <a:avLst>
              <a:gd name="adj" fmla="val 38976"/>
            </a:avLst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/>
            </a:lvl1pPr>
            <a:lvl5pPr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A100C112-E41D-4154-A09B-F17BA74EE51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flipH="1">
            <a:off x="5341257" y="3232150"/>
            <a:ext cx="6850742" cy="3625851"/>
          </a:xfrm>
          <a:prstGeom prst="round1Rect">
            <a:avLst>
              <a:gd name="adj" fmla="val 38591"/>
            </a:avLst>
          </a:prstGeom>
          <a:solidFill>
            <a:srgbClr val="FDF3F2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767069" y="2090825"/>
            <a:ext cx="4210504" cy="553998"/>
          </a:xfrm>
        </p:spPr>
        <p:txBody>
          <a:bodyPr anchor="b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767068" y="2766475"/>
            <a:ext cx="4210505" cy="392650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18881BF-E0C4-4F83-92BC-7EBBFFDC8E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67069" y="4179840"/>
            <a:ext cx="4210505" cy="338741"/>
          </a:xfrm>
        </p:spPr>
        <p:txBody>
          <a:bodyPr anchor="b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0E5897B-0128-4833-ABC7-9D5B944D43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addin_colorlist" hidden="1">
            <a:extLst>
              <a:ext uri="{FF2B5EF4-FFF2-40B4-BE49-F238E27FC236}">
                <a16:creationId xmlns:a16="http://schemas.microsoft.com/office/drawing/2014/main" id="{7BD4C53C-108D-4394-8456-4042468C0E3E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B367CA8A-46EF-4B57-A802-BB29E53CA959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8EC9AE72-4105-48A6-A086-47AFE82C935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2F1AA884-7DE6-4EAE-BF6F-1767EE3A5B0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B8B387BA-8B81-4475-9FC8-702C90AFA836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D9145AC7-3FAF-40CE-9C66-69B589F5679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6818D3C5-E00B-4293-821C-798C4F134E3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767025" y="4614675"/>
            <a:ext cx="4210549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6" name="logo_blaa" hidden="1">
            <a:extLst>
              <a:ext uri="{FF2B5EF4-FFF2-40B4-BE49-F238E27FC236}">
                <a16:creationId xmlns:a16="http://schemas.microsoft.com/office/drawing/2014/main" id="{7DC63C87-6AA4-475A-BEDD-B61D42E725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8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05A0FFA5-D312-4238-878B-A590BBAD64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62911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nhold (3 boks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13DEE0-CCAF-47EA-A14D-D76793842F6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49008" y="-8758"/>
            <a:ext cx="3949700" cy="6866758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016FC5DA-8226-4CF8-B228-E01FC14873E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39200" y="349009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51F98C5-2BE5-42D7-BB2F-61E1BA87BFA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9200" y="0"/>
            <a:ext cx="3352800" cy="3367907"/>
          </a:xfrm>
          <a:prstGeom prst="rect">
            <a:avLst/>
          </a:prstGeom>
          <a:solidFill>
            <a:schemeClr val="accent2"/>
          </a:solidFill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5F59F70E-C806-43BD-9D89-C54E8C3B0DB3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39200" y="3498849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4749800" y="-2"/>
            <a:ext cx="3949700" cy="685799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394970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4528026-6A07-443D-B9F3-8AA5C62D700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15913" y="910471"/>
            <a:ext cx="3949701" cy="553998"/>
          </a:xfrm>
        </p:spPr>
        <p:txBody>
          <a:bodyPr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46F41208-5C1D-4DD4-8A50-29FFF2F22427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8839200" y="0"/>
            <a:ext cx="3352799" cy="3359149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4D51EAA-A93B-4020-8227-613B86276B8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F919271A-D69E-44B1-9601-857C23308C2F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524CAE9B-B20C-4A8D-934B-59339B019D1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AC83C4E6-04D0-4072-8F3C-7976CB3356C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addin_logo" hidden="1">
            <a:extLst>
              <a:ext uri="{FF2B5EF4-FFF2-40B4-BE49-F238E27FC236}">
                <a16:creationId xmlns:a16="http://schemas.microsoft.com/office/drawing/2014/main" id="{6A95789E-F5A3-4946-AB59-D1C0D4FF1F3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addin_title" hidden="1">
            <a:extLst>
              <a:ext uri="{FF2B5EF4-FFF2-40B4-BE49-F238E27FC236}">
                <a16:creationId xmlns:a16="http://schemas.microsoft.com/office/drawing/2014/main" id="{3D365EEB-3C51-4BE4-88F0-1FC8A2B887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5" name="addin_text" hidden="1">
            <a:extLst>
              <a:ext uri="{FF2B5EF4-FFF2-40B4-BE49-F238E27FC236}">
                <a16:creationId xmlns:a16="http://schemas.microsoft.com/office/drawing/2014/main" id="{0B668723-1F65-41E9-8B0D-4C408D3AF15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DefLogoHvit" hidden="1">
            <a:extLst>
              <a:ext uri="{FF2B5EF4-FFF2-40B4-BE49-F238E27FC236}">
                <a16:creationId xmlns:a16="http://schemas.microsoft.com/office/drawing/2014/main" id="{1B4E343D-3448-4288-96A0-8161A1BCA02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xt Placeholder 1">
            <a:extLst>
              <a:ext uri="{FF2B5EF4-FFF2-40B4-BE49-F238E27FC236}">
                <a16:creationId xmlns:a16="http://schemas.microsoft.com/office/drawing/2014/main" id="{549804D6-DBC7-4F01-9B86-DCB54C291E2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5913" y="2121720"/>
            <a:ext cx="3949700" cy="12461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1" name="logo_blaa" hidden="1">
            <a:extLst>
              <a:ext uri="{FF2B5EF4-FFF2-40B4-BE49-F238E27FC236}">
                <a16:creationId xmlns:a16="http://schemas.microsoft.com/office/drawing/2014/main" id="{04E43283-FE22-49B4-8000-B2BF3E216D9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32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A4CC364E-FF8F-4D25-932D-28269C2B41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40943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innhold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BBFA32DA-0415-49CF-BCF9-38F570B362B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25597" y="0"/>
            <a:ext cx="4266403" cy="686675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2DCA02DF-93B7-429F-A0AD-D85D318A8EAB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7925597" y="1"/>
            <a:ext cx="4259939" cy="6857999"/>
          </a:xfrm>
          <a:prstGeom prst="rect">
            <a:avLst/>
          </a:prstGeom>
          <a:solidFill>
            <a:srgbClr val="002060"/>
          </a:solidFill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6163919" cy="553998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D2C0544-2BE4-48B0-9C84-7496C2E325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E35BFD6A-9EBA-437D-94D3-A22AE9F3BF6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E9F07D1-9FDA-4010-B64C-C1629BFE350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0B018755-7928-4745-9B40-F3496CA5DF1C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633A8CE6-D1F0-4276-AE71-8C8663E262E4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title" hidden="1">
            <a:extLst>
              <a:ext uri="{FF2B5EF4-FFF2-40B4-BE49-F238E27FC236}">
                <a16:creationId xmlns:a16="http://schemas.microsoft.com/office/drawing/2014/main" id="{FDD8280D-ED4A-4383-944E-05E4FE2BF96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994003EC-43C4-4410-B11C-73FEE191870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3341E66A-52C3-4488-998F-D252AB6C05BB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BAA402BF-A073-4F44-B5BE-D9D57BDB227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199256" y="1698171"/>
            <a:ext cx="4259939" cy="3839028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1" name="logo_blaa" hidden="1">
            <a:extLst>
              <a:ext uri="{FF2B5EF4-FFF2-40B4-BE49-F238E27FC236}">
                <a16:creationId xmlns:a16="http://schemas.microsoft.com/office/drawing/2014/main" id="{B775BF94-9F5B-4788-A52D-BFB8202FE0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4B3C57B-99D4-4846-9435-8D560C9EFA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9215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mellomtittel, tekst og innhold (Bak)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87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40B92AA-42BC-432B-8FCD-86D6CFD8E50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363977-D9F6-454E-A94B-C68902B9588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8220" y="2476500"/>
            <a:ext cx="3978593" cy="3555072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FA81454-9B8B-4525-959D-5534FBD4C3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F7888C7-E2BB-4F37-9548-732E47B2D66A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90D07F82-624B-4368-B875-4A5180E2445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C608B2B-F460-4524-A128-B881BF70A79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61C83988-EF2B-4F8A-A221-FBA24707F9C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47B8B98E-1475-4FEF-A304-E855B226301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07811DB8-614D-4E24-9368-EBE38BEF6B97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3A47E8CE-2C1D-4AD7-95B9-E7E0918EBD50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621DFB39-CA77-4A0B-8B66-A0048D4690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59B664F1-AE77-4485-A4FF-50875675A61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9207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22416" y="2157469"/>
            <a:ext cx="5560333" cy="1938992"/>
          </a:xfrm>
        </p:spPr>
        <p:txBody>
          <a:bodyPr anchor="b">
            <a:noAutofit/>
          </a:bodyPr>
          <a:lstStyle>
            <a:lvl1pPr algn="ctr">
              <a:lnSpc>
                <a:spcPct val="90000"/>
              </a:lnSpc>
              <a:defRPr sz="3000">
                <a:latin typeface="+mj-lt"/>
              </a:defRPr>
            </a:lvl1pPr>
          </a:lstStyle>
          <a:p>
            <a:r>
              <a:rPr lang="en-US" dirty="0"/>
              <a:t>“</a:t>
            </a:r>
            <a:r>
              <a:rPr lang="en-US" dirty="0" err="1"/>
              <a:t>Sitat</a:t>
            </a:r>
            <a:r>
              <a:rPr lang="en-US" dirty="0"/>
              <a:t>”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262E9EA-50DA-4C6F-BDBD-45D2CC16F55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22417" y="4498845"/>
            <a:ext cx="5560332" cy="215444"/>
          </a:xfrm>
        </p:spPr>
        <p:txBody>
          <a:bodyPr>
            <a:noAutofit/>
          </a:bodyPr>
          <a:lstStyle>
            <a:lvl1pPr marL="0" indent="0" algn="ctr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Navn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93E590-141F-4D3A-BAE4-F780C71B13E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359BBBD-8D4D-47A6-A6D2-15A5C12B778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91BDE199-DCB0-44B7-B468-DB0113CDAAD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5BC20023-01D6-43AC-AC9E-3D5BBB97537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9037258-551C-4040-900F-0E68A78A12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61EAB1CA-B254-4FF7-9B06-83529538730C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978D642-AF95-46D9-BDA8-AC5CCCB3ED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E1023C14-08D5-4A55-A00C-020E6A8C9E4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58AF3182-C308-455B-A82A-B41BA1F722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B313E4A-6BE2-4F93-B6C7-AA491E80D1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5112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 anchor="ctr"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184523D-32B3-42D2-9506-B4449EF1765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15913" y="909186"/>
            <a:ext cx="1166087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15913" y="1460500"/>
            <a:ext cx="6719887" cy="4784725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9981B97-0927-4AE0-B50C-C8C76D99F25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64499" y="2152968"/>
            <a:ext cx="3912283" cy="300037"/>
          </a:xfrm>
        </p:spPr>
        <p:txBody>
          <a:bodyPr anchor="t"/>
          <a:lstStyle>
            <a:lvl1pPr marL="0" indent="0">
              <a:buNone/>
              <a:defRPr sz="16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 err="1"/>
              <a:t>Mellomtittel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94E24CE-73E5-478C-A0AE-B3FF6F4E4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531F68E2-5378-49F8-9089-CF82D4C5C37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A3B53C9F-AC67-475F-A1A3-7F754C8F112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42717750-4B12-4D91-8622-DC0D4272850D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CBF86961-0370-4940-A239-56F95E63CBDB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0AE0909F-FA8A-42B2-A5EA-7A13B05B37C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9400D268-CC84-41FD-B9A3-9510D85E407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0E2F7EB6-BD9A-4CAB-81C5-FA6F6D8726B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64499" y="2673350"/>
            <a:ext cx="3912283" cy="3275464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5" name="logo_blaa" hidden="1">
            <a:extLst>
              <a:ext uri="{FF2B5EF4-FFF2-40B4-BE49-F238E27FC236}">
                <a16:creationId xmlns:a16="http://schemas.microsoft.com/office/drawing/2014/main" id="{6EC1C648-C2B5-4E3E-97B8-51E33A6D4FD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6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130A81A-101F-405C-BADE-AEA1EEED6CA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13403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Høyre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234155"/>
            <a:ext cx="11660079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3715658" y="1036637"/>
            <a:ext cx="826112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5EA8AB-6B52-4A25-8679-9037A006B2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2C43F1F1-08A8-45E6-8709-A6CF646C389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29DE899F-C243-4AB6-84E9-84DD211AA6D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background" hidden="1">
            <a:extLst>
              <a:ext uri="{FF2B5EF4-FFF2-40B4-BE49-F238E27FC236}">
                <a16:creationId xmlns:a16="http://schemas.microsoft.com/office/drawing/2014/main" id="{FD84D5B2-05C4-4708-B0E6-8816C134C1A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BC7B844F-3B22-4BC5-AE8F-529F6F8103B2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91826AB-F933-47F3-A50A-E1A9C8C299C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882AA710-D5DF-4B9E-B682-8BC67348AB36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F27B46D2-22EB-487B-863E-8C88301E95B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5" y="1191898"/>
            <a:ext cx="2822753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15" name="logo_blaa" hidden="1">
            <a:extLst>
              <a:ext uri="{FF2B5EF4-FFF2-40B4-BE49-F238E27FC236}">
                <a16:creationId xmlns:a16="http://schemas.microsoft.com/office/drawing/2014/main" id="{1F441257-1E00-4BF4-AEC1-54B59D9E60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18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13937A8F-B1E9-4D42-B2FC-ECBBD21A8E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4812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2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1036637"/>
            <a:ext cx="3343276" cy="53641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033B6724-4542-4E0D-A677-8E0AEC06B5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999124DB-8F02-409F-A729-E11030C3457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CD623913-286B-465D-A7E5-0DF3533D4623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CD92FFB2-664D-487F-A82D-D46DC13C7D0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A6BE133F-DD99-468C-8D55-748939F0F9C8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AAE24BC9-EA40-4A42-B35A-A5F8924D3B2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2A25BEF6-DC40-4AF2-B91B-D50EB057310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171BDB52-B689-490F-A912-7D7E7080675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CE013FE2-C931-42C4-968F-4DF411D4CE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139520A-EC59-4D56-B897-7906D5AE2B0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035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 med bilde (Høyre, sirkel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CDE15B9-BBD7-42A7-B667-4AABA43933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6118" y="0"/>
            <a:ext cx="6908798" cy="3589020"/>
          </a:xfrm>
          <a:custGeom>
            <a:avLst/>
            <a:gdLst>
              <a:gd name="connsiteX0" fmla="*/ 53674 w 6908798"/>
              <a:gd name="connsiteY0" fmla="*/ 0 h 3589020"/>
              <a:gd name="connsiteX1" fmla="*/ 6855124 w 6908798"/>
              <a:gd name="connsiteY1" fmla="*/ 0 h 3589020"/>
              <a:gd name="connsiteX2" fmla="*/ 6890963 w 6908798"/>
              <a:gd name="connsiteY2" fmla="*/ 208491 h 3589020"/>
              <a:gd name="connsiteX3" fmla="*/ 6908798 w 6908798"/>
              <a:gd name="connsiteY3" fmla="*/ 522069 h 3589020"/>
              <a:gd name="connsiteX4" fmla="*/ 3454399 w 6908798"/>
              <a:gd name="connsiteY4" fmla="*/ 3589020 h 3589020"/>
              <a:gd name="connsiteX5" fmla="*/ 0 w 6908798"/>
              <a:gd name="connsiteY5" fmla="*/ 522069 h 3589020"/>
              <a:gd name="connsiteX6" fmla="*/ 17835 w 6908798"/>
              <a:gd name="connsiteY6" fmla="*/ 208491 h 358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8798" h="3589020">
                <a:moveTo>
                  <a:pt x="53674" y="0"/>
                </a:moveTo>
                <a:lnTo>
                  <a:pt x="6855124" y="0"/>
                </a:lnTo>
                <a:lnTo>
                  <a:pt x="6890963" y="208491"/>
                </a:lnTo>
                <a:cubicBezTo>
                  <a:pt x="6902757" y="311593"/>
                  <a:pt x="6908798" y="416205"/>
                  <a:pt x="6908798" y="522069"/>
                </a:cubicBezTo>
                <a:cubicBezTo>
                  <a:pt x="6908798" y="2215899"/>
                  <a:pt x="5362211" y="3589020"/>
                  <a:pt x="3454399" y="3589020"/>
                </a:cubicBezTo>
                <a:cubicBezTo>
                  <a:pt x="1546587" y="3589020"/>
                  <a:pt x="0" y="2215899"/>
                  <a:pt x="0" y="522069"/>
                </a:cubicBezTo>
                <a:cubicBezTo>
                  <a:pt x="0" y="416205"/>
                  <a:pt x="6042" y="311593"/>
                  <a:pt x="17835" y="208491"/>
                </a:cubicBezTo>
                <a:close/>
              </a:path>
            </a:pathLst>
          </a:custGeom>
          <a:solidFill>
            <a:srgbClr val="F3DEDA"/>
          </a:solidFill>
        </p:spPr>
        <p:txBody>
          <a:bodyPr wrap="square">
            <a:noAutofit/>
          </a:bodyPr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D5C2C1ED-04B4-4BB0-995F-FBE0210316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89258" y="1"/>
            <a:ext cx="6502743" cy="5821831"/>
          </a:xfrm>
          <a:custGeom>
            <a:avLst/>
            <a:gdLst>
              <a:gd name="connsiteX0" fmla="*/ 641777 w 6502743"/>
              <a:gd name="connsiteY0" fmla="*/ 0 h 5821831"/>
              <a:gd name="connsiteX1" fmla="*/ 6502743 w 6502743"/>
              <a:gd name="connsiteY1" fmla="*/ 0 h 5821831"/>
              <a:gd name="connsiteX2" fmla="*/ 6502743 w 6502743"/>
              <a:gd name="connsiteY2" fmla="*/ 4581393 h 5821831"/>
              <a:gd name="connsiteX3" fmla="*/ 6368283 w 6502743"/>
              <a:gd name="connsiteY3" fmla="*/ 4729320 h 5821831"/>
              <a:gd name="connsiteX4" fmla="*/ 3730454 w 6502743"/>
              <a:gd name="connsiteY4" fmla="*/ 5821831 h 5821831"/>
              <a:gd name="connsiteX5" fmla="*/ 0 w 6502743"/>
              <a:gd name="connsiteY5" fmla="*/ 2091765 h 5821831"/>
              <a:gd name="connsiteX6" fmla="*/ 637103 w 6502743"/>
              <a:gd name="connsiteY6" fmla="*/ 6249 h 5821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02743" h="5821831">
                <a:moveTo>
                  <a:pt x="641777" y="0"/>
                </a:moveTo>
                <a:lnTo>
                  <a:pt x="6502743" y="0"/>
                </a:lnTo>
                <a:lnTo>
                  <a:pt x="6502743" y="4581393"/>
                </a:lnTo>
                <a:lnTo>
                  <a:pt x="6368283" y="4729320"/>
                </a:lnTo>
                <a:cubicBezTo>
                  <a:pt x="5693204" y="5404330"/>
                  <a:pt x="4760591" y="5821831"/>
                  <a:pt x="3730454" y="5821831"/>
                </a:cubicBezTo>
                <a:cubicBezTo>
                  <a:pt x="1670181" y="5821831"/>
                  <a:pt x="0" y="4151824"/>
                  <a:pt x="0" y="2091765"/>
                </a:cubicBezTo>
                <a:cubicBezTo>
                  <a:pt x="0" y="1319243"/>
                  <a:pt x="234870" y="601572"/>
                  <a:pt x="637103" y="6249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0C0B257-21AF-4625-8CCF-1DAC575B7F3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43C825BC-DA8F-44B1-AE42-CB0B92B7B6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4" y="4952257"/>
            <a:ext cx="5912646" cy="969496"/>
          </a:xfrm>
        </p:spPr>
        <p:txBody>
          <a:bodyPr anchor="b">
            <a:noAutofit/>
          </a:bodyPr>
          <a:lstStyle>
            <a:lvl1pPr>
              <a:defRPr sz="7000">
                <a:solidFill>
                  <a:schemeClr val="accent2"/>
                </a:solidFill>
                <a:latin typeface="SpareBank 1 Title Light" panose="020B0500030000000000" pitchFamily="34" charset="0"/>
              </a:defRPr>
            </a:lvl1pPr>
          </a:lstStyle>
          <a:p>
            <a:r>
              <a:rPr lang="en-US" dirty="0" err="1"/>
              <a:t>Titte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kapittel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0EE1215-8BFC-4402-8AF8-777B7C8D64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6704" y="5976769"/>
            <a:ext cx="5912646" cy="432054"/>
          </a:xfrm>
        </p:spPr>
        <p:txBody>
          <a:bodyPr lIns="86400"/>
          <a:lstStyle>
            <a:lvl1pPr marL="0" indent="0" algn="l">
              <a:buNone/>
              <a:defRPr sz="1600">
                <a:solidFill>
                  <a:schemeClr val="accent2"/>
                </a:solidFill>
                <a:latin typeface="SpareBank 1 Light" panose="020B0500030000000000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Undertittel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DE54C31-34D8-42E9-8DA6-17AEAE2973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6704" y="303620"/>
            <a:ext cx="1720380" cy="92333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accent2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7CC54D-2DC9-48B2-9120-D93F728550C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09100" y="6246570"/>
            <a:ext cx="2667000" cy="56075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3B2FE8A8-D76E-449B-9226-24FC22588493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3E1D7BB8-B7E0-4C40-B081-6B8B4100FF7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61618193-91F3-4633-AF08-71C2D692B01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C1EA0EA8-9984-4892-BBD2-610B78FD97C0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67C023F-45C9-4C10-A2C9-E1C6D66C3B1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2" name="addin_text" hidden="1">
            <a:extLst>
              <a:ext uri="{FF2B5EF4-FFF2-40B4-BE49-F238E27FC236}">
                <a16:creationId xmlns:a16="http://schemas.microsoft.com/office/drawing/2014/main" id="{76DF5DEA-4A8C-4684-BC3D-9C6A3A811E30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BA3F25F2-9508-42A0-840B-E7E985081894}"/>
              </a:ext>
            </a:extLst>
          </p:cNvPr>
          <p:cNvSpPr/>
          <p:nvPr userDrawn="1"/>
        </p:nvSpPr>
        <p:spPr>
          <a:xfrm>
            <a:off x="2430935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pic>
        <p:nvPicPr>
          <p:cNvPr id="9" name="logo_blaa" hidden="1">
            <a:extLst>
              <a:ext uri="{FF2B5EF4-FFF2-40B4-BE49-F238E27FC236}">
                <a16:creationId xmlns:a16="http://schemas.microsoft.com/office/drawing/2014/main" id="{9ED63FDA-C36D-BD3D-1679-3985D0F7EF5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pic>
        <p:nvPicPr>
          <p:cNvPr id="25" name="logo_hvit" hidden="1">
            <a:extLst>
              <a:ext uri="{FF2B5EF4-FFF2-40B4-BE49-F238E27FC236}">
                <a16:creationId xmlns:a16="http://schemas.microsoft.com/office/drawing/2014/main" id="{2084C308-5BC2-6CBC-0A9B-FD3DAABD79AA}"/>
              </a:ext>
            </a:extLst>
          </p:cNvPr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7647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fside (4 grafer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CC9DA6E-D112-4CF2-9E61-D2803FFC55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0" y="0"/>
            <a:ext cx="3343275" cy="6858000"/>
          </a:xfrm>
          <a:solidFill>
            <a:srgbClr val="EFEFEF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EBA021-F995-466B-8A86-BBEC24A04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6705" y="234155"/>
            <a:ext cx="2821912" cy="553998"/>
          </a:xfrm>
        </p:spPr>
        <p:txBody>
          <a:bodyPr/>
          <a:lstStyle>
            <a:lvl1pPr>
              <a:defRPr>
                <a:solidFill>
                  <a:srgbClr val="00207D"/>
                </a:solidFill>
              </a:defRPr>
            </a:lvl1pPr>
          </a:lstStyle>
          <a:p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54D2C5C-C68A-485B-9019-CD4B6FE1709E}"/>
              </a:ext>
            </a:extLst>
          </p:cNvPr>
          <p:cNvSpPr>
            <a:spLocks noGrp="1"/>
          </p:cNvSpPr>
          <p:nvPr>
            <p:ph type="chart" sz="quarter" idx="31"/>
          </p:nvPr>
        </p:nvSpPr>
        <p:spPr>
          <a:xfrm>
            <a:off x="428126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8" name="Chart Placeholder 5">
            <a:extLst>
              <a:ext uri="{FF2B5EF4-FFF2-40B4-BE49-F238E27FC236}">
                <a16:creationId xmlns:a16="http://schemas.microsoft.com/office/drawing/2014/main" id="{31484953-D908-4216-A821-FFF36AE77225}"/>
              </a:ext>
            </a:extLst>
          </p:cNvPr>
          <p:cNvSpPr>
            <a:spLocks noGrp="1"/>
          </p:cNvSpPr>
          <p:nvPr>
            <p:ph type="chart" sz="quarter" idx="33"/>
          </p:nvPr>
        </p:nvSpPr>
        <p:spPr>
          <a:xfrm>
            <a:off x="8418290" y="851285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AF830C0-8048-4660-85F5-880345F1B2E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1260" y="445295"/>
            <a:ext cx="3343275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38373671-1454-4F00-862D-A2611E85FF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418290" y="445295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18" name="Chart Placeholder 5">
            <a:extLst>
              <a:ext uri="{FF2B5EF4-FFF2-40B4-BE49-F238E27FC236}">
                <a16:creationId xmlns:a16="http://schemas.microsoft.com/office/drawing/2014/main" id="{67E0BF1E-FA82-4B7F-B923-BFDB61725C32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428126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CA985493-FA53-488E-8517-92FC07AF2B01}"/>
              </a:ext>
            </a:extLst>
          </p:cNvPr>
          <p:cNvSpPr>
            <a:spLocks noGrp="1"/>
          </p:cNvSpPr>
          <p:nvPr>
            <p:ph type="chart" sz="quarter" idx="37"/>
          </p:nvPr>
        </p:nvSpPr>
        <p:spPr>
          <a:xfrm>
            <a:off x="8418290" y="4113242"/>
            <a:ext cx="3343276" cy="2392363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diagram</a:t>
            </a:r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BD22E512-6705-4C14-9589-C2DACC2CD1B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8126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FD5F680-AEB8-4E1E-9514-7E53E039944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8418290" y="3707252"/>
            <a:ext cx="3343276" cy="342858"/>
          </a:xfrm>
        </p:spPr>
        <p:txBody>
          <a:bodyPr lIns="50400" numCol="1" spcCol="216000"/>
          <a:lstStyle>
            <a:lvl1pPr marL="0" indent="0" algn="l">
              <a:lnSpc>
                <a:spcPct val="110000"/>
              </a:lnSpc>
              <a:spcAft>
                <a:spcPts val="1700"/>
              </a:spcAft>
              <a:buNone/>
              <a:defRPr sz="1400">
                <a:solidFill>
                  <a:srgbClr val="00207D"/>
                </a:solidFill>
                <a:latin typeface="SpareBank 1 Light" panose="020B0500030000000000" pitchFamily="34" charset="0"/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en-US" dirty="0" err="1"/>
              <a:t>Tittel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FA83E3-5DF6-44FC-9818-DBD9AC1388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addin_colorlist" hidden="1">
            <a:extLst>
              <a:ext uri="{FF2B5EF4-FFF2-40B4-BE49-F238E27FC236}">
                <a16:creationId xmlns:a16="http://schemas.microsoft.com/office/drawing/2014/main" id="{026061BC-914B-4BA8-A2C4-CC0745516D4D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_agenda3, clr_agenda4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7639C6D-46FA-4FA7-8EC0-21DEE11DB27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background" hidden="1">
            <a:extLst>
              <a:ext uri="{FF2B5EF4-FFF2-40B4-BE49-F238E27FC236}">
                <a16:creationId xmlns:a16="http://schemas.microsoft.com/office/drawing/2014/main" id="{71D860E0-3EB4-4985-8611-DBB86048C275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040054D-988B-4548-8071-431E56D48E1E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3988038F-D2A8-423E-9DE1-C599EB065BA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7291C49E-6F93-4D1D-98F0-6D074E39ECF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F7D3B47-0043-4A21-A582-E9A771DC02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16704" y="1191898"/>
            <a:ext cx="2821911" cy="4629463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rgbClr val="00207D"/>
                </a:solidFill>
              </a:defRPr>
            </a:lvl1pPr>
            <a:lvl2pPr>
              <a:defRPr sz="1200">
                <a:solidFill>
                  <a:srgbClr val="00207D"/>
                </a:solidFill>
              </a:defRPr>
            </a:lvl2pPr>
            <a:lvl3pPr>
              <a:defRPr sz="1100">
                <a:solidFill>
                  <a:srgbClr val="00207D"/>
                </a:solidFill>
              </a:defRPr>
            </a:lvl3pPr>
            <a:lvl4pPr>
              <a:defRPr sz="1000">
                <a:solidFill>
                  <a:srgbClr val="00207D"/>
                </a:solidFill>
              </a:defRPr>
            </a:lvl4pPr>
            <a:lvl5pPr>
              <a:defRPr sz="900"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30" name="logo_blaa" hidden="1">
            <a:extLst>
              <a:ext uri="{FF2B5EF4-FFF2-40B4-BE49-F238E27FC236}">
                <a16:creationId xmlns:a16="http://schemas.microsoft.com/office/drawing/2014/main" id="{649B96D7-8379-4313-B87E-0743FDB57DA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  <p:pic>
        <p:nvPicPr>
          <p:cNvPr id="3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961B122-ADB1-4639-B72E-6CC4AFE913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8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0597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vikling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8A1C56D-C7B2-4042-9CD8-AA509F795114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5902DB0-F9C9-4208-AC04-F65B14A925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3134" y="2359798"/>
            <a:ext cx="4533908" cy="235449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17000">
                <a:latin typeface="SpareBank 1 Medium" panose="020B0500030000000000" pitchFamily="34" charset="0"/>
              </a:defRPr>
            </a:lvl1pPr>
          </a:lstStyle>
          <a:p>
            <a:r>
              <a:rPr lang="en-US" dirty="0"/>
              <a:t>00</a:t>
            </a:r>
          </a:p>
        </p:txBody>
      </p:sp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4012ADA4-FF9C-4A9A-9D47-9F7DF4E17A6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707042" y="2359797"/>
            <a:ext cx="3978593" cy="1849991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600"/>
            </a:lvl1pPr>
          </a:lstStyle>
          <a:p>
            <a:pPr lvl="0"/>
            <a:r>
              <a:rPr lang="nb-NO" sz="1600"/>
              <a:t>Klikk for å redigere tekststiler i malen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BFCD7BF-3AB7-4429-8BC8-F8BC42C2A5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95E40C5A-6129-49F4-B4D2-D18CFE88C1D1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6831A200-49F5-4645-BB55-B21422B4DD4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29F23ED3-8031-44D0-AF88-1C89758EB5A2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696CEC71-F65A-43A1-962D-596ECDCFEFF5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19D9EC0F-9854-4585-BE93-674C85878F1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72B513AD-BD82-49A5-8EDC-A9F4BDC63DE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DefLogoHvit" hidden="1">
            <a:extLst>
              <a:ext uri="{FF2B5EF4-FFF2-40B4-BE49-F238E27FC236}">
                <a16:creationId xmlns:a16="http://schemas.microsoft.com/office/drawing/2014/main" id="{0BB6941E-7A67-4E07-AB3F-FA53A5938919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2" name="logo_blaa" hidden="1">
            <a:extLst>
              <a:ext uri="{FF2B5EF4-FFF2-40B4-BE49-F238E27FC236}">
                <a16:creationId xmlns:a16="http://schemas.microsoft.com/office/drawing/2014/main" id="{F993B76B-8E25-4810-AA19-7E294F204C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2B0BCFCD-3118-473A-B423-9F78BB787DA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5592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 hidden="1">
            <a:extLst>
              <a:ext uri="{FF2B5EF4-FFF2-40B4-BE49-F238E27FC236}">
                <a16:creationId xmlns:a16="http://schemas.microsoft.com/office/drawing/2014/main" id="{53E799FF-A7CB-461E-B019-32619A79E4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49780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49780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6A5C2C-D005-4D6A-B53B-999FAD2B2F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497807" y="2254021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81927" y="4320383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81927" y="3894454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544BEA80-896A-4A78-A6E8-C08CC90D84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1927" y="2254021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612058" y="4315621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12058" y="3889692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BC51C625-F779-4CC0-B43C-69D91D5B9FB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12058" y="2249259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154053" y="4325288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54053" y="3899359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D4A5529C-9EF2-4C35-9351-C26E0DDC606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154053" y="2258926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497807" y="2254021"/>
            <a:ext cx="1440180" cy="1439299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/>
              <a:t>IKON SETTES INN HER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981927" y="2254021"/>
            <a:ext cx="1440180" cy="1439299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9154053" y="2258926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r>
              <a:rPr lang="en-US" dirty="0"/>
              <a:t> </a:t>
            </a:r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6612058" y="2249259"/>
            <a:ext cx="1440180" cy="14392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D004951B-E132-4CB5-BE08-014909997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6E501A22-635E-4E52-A781-CEFE3AAF9E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5" name="addin_colorbox" hidden="1">
            <a:extLst>
              <a:ext uri="{FF2B5EF4-FFF2-40B4-BE49-F238E27FC236}">
                <a16:creationId xmlns:a16="http://schemas.microsoft.com/office/drawing/2014/main" id="{C152D6E7-5ABD-462F-B484-D3C5A98E30CC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6" name="addin_background" hidden="1">
            <a:extLst>
              <a:ext uri="{FF2B5EF4-FFF2-40B4-BE49-F238E27FC236}">
                <a16:creationId xmlns:a16="http://schemas.microsoft.com/office/drawing/2014/main" id="{E380263D-5A13-44BA-8F84-CE8D468BF3FF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37" name="addin_logo" hidden="1">
            <a:extLst>
              <a:ext uri="{FF2B5EF4-FFF2-40B4-BE49-F238E27FC236}">
                <a16:creationId xmlns:a16="http://schemas.microsoft.com/office/drawing/2014/main" id="{A47615AF-2F92-48F5-9427-DB7CDFC14D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8" name="addin_title" hidden="1">
            <a:extLst>
              <a:ext uri="{FF2B5EF4-FFF2-40B4-BE49-F238E27FC236}">
                <a16:creationId xmlns:a16="http://schemas.microsoft.com/office/drawing/2014/main" id="{DE8F631C-E719-4912-BF9F-B8C23CA2B3F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9" name="addin_text" hidden="1">
            <a:extLst>
              <a:ext uri="{FF2B5EF4-FFF2-40B4-BE49-F238E27FC236}">
                <a16:creationId xmlns:a16="http://schemas.microsoft.com/office/drawing/2014/main" id="{7FC205FB-165B-4339-88D1-EF192C650B2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40" name="logo_blaa" hidden="1">
            <a:extLst>
              <a:ext uri="{FF2B5EF4-FFF2-40B4-BE49-F238E27FC236}">
                <a16:creationId xmlns:a16="http://schemas.microsoft.com/office/drawing/2014/main" id="{A3115B95-C8AB-4FA6-A62C-C8CD7D4EED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41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747831C-975B-49DB-8051-21E966CEB7B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39890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F73BE435-F82E-401E-BC8F-786DF65E161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542257" y="2161952"/>
            <a:ext cx="1440180" cy="1439299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5" name="Text Placeholder 5">
            <a:extLst>
              <a:ext uri="{FF2B5EF4-FFF2-40B4-BE49-F238E27FC236}">
                <a16:creationId xmlns:a16="http://schemas.microsoft.com/office/drawing/2014/main" id="{3875DC22-FC29-439F-BE1C-C4CEEE74EFF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450495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59238488-45B2-4EF9-9DCF-75A9D082AC0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367444" y="2161952"/>
            <a:ext cx="1440180" cy="1439299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7" name="Text Placeholder 5">
            <a:extLst>
              <a:ext uri="{FF2B5EF4-FFF2-40B4-BE49-F238E27FC236}">
                <a16:creationId xmlns:a16="http://schemas.microsoft.com/office/drawing/2014/main" id="{F12A2793-E8C0-4A44-AD6E-511C67CD47B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80970" y="2161952"/>
            <a:ext cx="1440180" cy="1439299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2EC5F670-0FCC-48B7-9C97-8A0ED134BF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192632" y="2161952"/>
            <a:ext cx="1440180" cy="1439299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5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525110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8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8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11525110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2589B68B-6FC3-4A8E-A6B4-15BE438ABF2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50495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A88F8B5-8E03-43A4-B94C-726522E8C2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50495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3EFC636C-45F7-4D80-913A-E189DBD4B00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367444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2A3850B-57F8-4746-ABC4-07EFFB9552E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67444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F6F1C91C-5EFA-46E9-8499-1ACC2BBC19E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280970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AB3A0E-5127-4287-9954-3E23BA96F27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80970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68C6EA9-B739-4680-AD52-7A2BDE15538B}"/>
              </a:ext>
            </a:extLst>
          </p:cNvPr>
          <p:cNvSpPr>
            <a:spLocks noGrp="1"/>
          </p:cNvSpPr>
          <p:nvPr>
            <p:ph sz="quarter" idx="38" hasCustomPrompt="1"/>
          </p:nvPr>
        </p:nvSpPr>
        <p:spPr>
          <a:xfrm>
            <a:off x="1542257" y="2161952"/>
            <a:ext cx="1440180" cy="1439299"/>
          </a:xfr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B06652B2-4AB0-45B6-BED4-F119744C0781}"/>
              </a:ext>
            </a:extLst>
          </p:cNvPr>
          <p:cNvSpPr>
            <a:spLocks noGrp="1"/>
          </p:cNvSpPr>
          <p:nvPr>
            <p:ph sz="quarter" idx="39" hasCustomPrompt="1"/>
          </p:nvPr>
        </p:nvSpPr>
        <p:spPr>
          <a:xfrm>
            <a:off x="3450495" y="2161952"/>
            <a:ext cx="1440180" cy="1439299"/>
          </a:xfr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32D361F0-26FD-42CA-ABD7-D4A1E734FBA4}"/>
              </a:ext>
            </a:extLst>
          </p:cNvPr>
          <p:cNvSpPr>
            <a:spLocks noGrp="1"/>
          </p:cNvSpPr>
          <p:nvPr>
            <p:ph sz="quarter" idx="40" hasCustomPrompt="1"/>
          </p:nvPr>
        </p:nvSpPr>
        <p:spPr>
          <a:xfrm>
            <a:off x="7280970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0" name="Content Placeholder 8">
            <a:extLst>
              <a:ext uri="{FF2B5EF4-FFF2-40B4-BE49-F238E27FC236}">
                <a16:creationId xmlns:a16="http://schemas.microsoft.com/office/drawing/2014/main" id="{B832E9B8-520B-4E6D-956D-A9A1F8270D28}"/>
              </a:ext>
            </a:extLst>
          </p:cNvPr>
          <p:cNvSpPr>
            <a:spLocks noGrp="1"/>
          </p:cNvSpPr>
          <p:nvPr>
            <p:ph sz="quarter" idx="41" hasCustomPrompt="1"/>
          </p:nvPr>
        </p:nvSpPr>
        <p:spPr>
          <a:xfrm>
            <a:off x="5367444" y="2161952"/>
            <a:ext cx="1440180" cy="143929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4" name="Content Placeholder 8">
            <a:extLst>
              <a:ext uri="{FF2B5EF4-FFF2-40B4-BE49-F238E27FC236}">
                <a16:creationId xmlns:a16="http://schemas.microsoft.com/office/drawing/2014/main" id="{3F540DE3-195D-4E6B-A7AF-31B5DF60F736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9192632" y="2161952"/>
            <a:ext cx="1440180" cy="1439299"/>
          </a:xfr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SETTES INN HER</a:t>
            </a:r>
          </a:p>
          <a:p>
            <a:pPr lvl="0"/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F891B1A-3BF6-4C12-A12A-239C8FCE033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192632" y="4403574"/>
            <a:ext cx="1440180" cy="882650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4D5D28B2-0704-4803-A645-557CB31EE3D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92632" y="3888486"/>
            <a:ext cx="1440180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A0EFE922-5D7E-4DE7-BDD3-B34758502BD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8" name="addin_colorlist" hidden="1">
            <a:extLst>
              <a:ext uri="{FF2B5EF4-FFF2-40B4-BE49-F238E27FC236}">
                <a16:creationId xmlns:a16="http://schemas.microsoft.com/office/drawing/2014/main" id="{075E0F79-D570-480C-8DF3-E58C21E1F61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39" name="addin_colorbox" hidden="1">
            <a:extLst>
              <a:ext uri="{FF2B5EF4-FFF2-40B4-BE49-F238E27FC236}">
                <a16:creationId xmlns:a16="http://schemas.microsoft.com/office/drawing/2014/main" id="{67B923A1-1928-48F4-99F0-2BC992E26D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0" name="addin_background" hidden="1">
            <a:extLst>
              <a:ext uri="{FF2B5EF4-FFF2-40B4-BE49-F238E27FC236}">
                <a16:creationId xmlns:a16="http://schemas.microsoft.com/office/drawing/2014/main" id="{C8275DA9-4738-44F4-80E0-B95FD7F76697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1" name="addin_logo" hidden="1">
            <a:extLst>
              <a:ext uri="{FF2B5EF4-FFF2-40B4-BE49-F238E27FC236}">
                <a16:creationId xmlns:a16="http://schemas.microsoft.com/office/drawing/2014/main" id="{50E7F9FC-E5AD-43C9-9814-D45E18A07656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2" name="addin_title" hidden="1">
            <a:extLst>
              <a:ext uri="{FF2B5EF4-FFF2-40B4-BE49-F238E27FC236}">
                <a16:creationId xmlns:a16="http://schemas.microsoft.com/office/drawing/2014/main" id="{4E85F3F3-61FE-46B8-9DCC-8DF708F7EF3F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43" name="addin_text" hidden="1">
            <a:extLst>
              <a:ext uri="{FF2B5EF4-FFF2-40B4-BE49-F238E27FC236}">
                <a16:creationId xmlns:a16="http://schemas.microsoft.com/office/drawing/2014/main" id="{CCB6333A-8809-4730-B12B-15E8A5FE96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49" name="logo_blaa" hidden="1">
            <a:extLst>
              <a:ext uri="{FF2B5EF4-FFF2-40B4-BE49-F238E27FC236}">
                <a16:creationId xmlns:a16="http://schemas.microsoft.com/office/drawing/2014/main" id="{FA04A7F4-0997-46C3-AAB7-A12EEDF30D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50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53E6C48-047C-4A2C-B3C9-07073AEE62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69568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ide (Med tekst)"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7C3D8B82-1186-4182-B0A5-AF811E03AAAB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0279050-A64A-4B83-A905-1B3FC387D1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238625" y="1771827"/>
            <a:ext cx="895350" cy="872978"/>
          </a:xfrm>
          <a:prstGeom prst="ellipse">
            <a:avLst/>
          </a:prstGeom>
          <a:solidFill>
            <a:srgbClr val="00207D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2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0D0A5540-DE13-4650-A761-05A3821451B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913F1418-8863-4CCE-A609-28E1F569F71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4062DE1-5A03-401B-828E-C09837CBE7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39050" y="0"/>
            <a:ext cx="4552950" cy="6858000"/>
          </a:xfrm>
          <a:solidFill>
            <a:srgbClr val="005AA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6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6579396" cy="553998"/>
          </a:xfrm>
        </p:spPr>
        <p:txBody>
          <a:bodyPr anchor="ctr"/>
          <a:lstStyle>
            <a:lvl1pPr>
              <a:lnSpc>
                <a:spcPct val="90000"/>
              </a:lnSpc>
              <a:defRPr>
                <a:solidFill>
                  <a:srgbClr val="00207D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726E3C71-6252-416E-BB06-9B02EAF49F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42257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36EDF4-72AC-4654-9086-5F126C2C5DC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42257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A52B160-86DA-4012-954C-C6953026A9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15913" y="909186"/>
            <a:ext cx="6579396" cy="4308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00207D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3FDEC93C-B0F9-43F6-9A2B-43486128B15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913982" y="3286065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D64AEBB-F5C6-49BB-A8BD-743146A4CBF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913982" y="2809079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52CFF93E-569D-485C-9953-C19AC5E3C45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542257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8A6D454-40E4-4EA2-B644-EDCFBBCB62B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42257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lvl="0"/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43" name="Text Placeholder 11">
            <a:extLst>
              <a:ext uri="{FF2B5EF4-FFF2-40B4-BE49-F238E27FC236}">
                <a16:creationId xmlns:a16="http://schemas.microsoft.com/office/drawing/2014/main" id="{1A3C0572-03EF-4F24-A0B1-253B71A2C1FD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913982" y="5309920"/>
            <a:ext cx="1476185" cy="300037"/>
          </a:xfrm>
        </p:spPr>
        <p:txBody>
          <a:bodyPr numCol="1" spcCol="216000"/>
          <a:lstStyle>
            <a:lvl1pPr marL="0" indent="0" algn="ctr">
              <a:lnSpc>
                <a:spcPct val="93000"/>
              </a:lnSpc>
              <a:spcAft>
                <a:spcPts val="0"/>
              </a:spcAft>
              <a:buNone/>
              <a:defRPr sz="1400">
                <a:solidFill>
                  <a:srgbClr val="00207D"/>
                </a:solidFill>
              </a:defRPr>
            </a:lvl1pPr>
            <a:lvl2pPr>
              <a:defRPr>
                <a:solidFill>
                  <a:srgbClr val="00207D"/>
                </a:solidFill>
              </a:defRPr>
            </a:lvl2pPr>
            <a:lvl3pPr>
              <a:defRPr>
                <a:solidFill>
                  <a:srgbClr val="00207D"/>
                </a:solidFill>
              </a:defRPr>
            </a:lvl3pPr>
            <a:lvl4pPr>
              <a:defRPr>
                <a:solidFill>
                  <a:srgbClr val="00207D"/>
                </a:solidFill>
              </a:defRPr>
            </a:lvl4pPr>
            <a:lvl5pPr>
              <a:defRPr>
                <a:solidFill>
                  <a:srgbClr val="00207D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4A24DB8-42A3-44EC-A86F-652A8538749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913982" y="4832934"/>
            <a:ext cx="1476185" cy="300037"/>
          </a:xfrm>
        </p:spPr>
        <p:txBody>
          <a:bodyPr anchor="ctr"/>
          <a:lstStyle>
            <a:lvl1pPr marL="0" indent="0" algn="ctr">
              <a:buNone/>
              <a:defRPr sz="1400">
                <a:solidFill>
                  <a:srgbClr val="00207D"/>
                </a:solidFill>
                <a:latin typeface="SpareBank 1 Medium" panose="020B0500030000000000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tt inn ikon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A96C8D-EA7E-4A1A-9503-66E8E35B8CEC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8369300" y="1098550"/>
            <a:ext cx="3608274" cy="393700"/>
          </a:xfrm>
        </p:spPr>
        <p:txBody>
          <a:bodyPr anchor="b"/>
          <a:lstStyle>
            <a:lvl1pPr marL="0" indent="0">
              <a:buNone/>
              <a:defRPr sz="30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DC22F2-8CFA-49E4-A541-56C2672DA8B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8369300" y="1605457"/>
            <a:ext cx="3608274" cy="3937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25147704-1371-462B-8BE0-901BF4C6B9A5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369300" y="2882345"/>
            <a:ext cx="3608274" cy="393700"/>
          </a:xfrm>
        </p:spPr>
        <p:txBody>
          <a:bodyPr anchor="b"/>
          <a:lstStyle>
            <a:lvl1pPr marL="0" indent="0">
              <a:buNone/>
              <a:defRPr sz="30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8" name="Text Placeholder 15">
            <a:extLst>
              <a:ext uri="{FF2B5EF4-FFF2-40B4-BE49-F238E27FC236}">
                <a16:creationId xmlns:a16="http://schemas.microsoft.com/office/drawing/2014/main" id="{1CCA3D76-ECCA-4308-8AF0-909FC8B26F8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369300" y="3389252"/>
            <a:ext cx="3608274" cy="3937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9" name="Text Placeholder 11">
            <a:extLst>
              <a:ext uri="{FF2B5EF4-FFF2-40B4-BE49-F238E27FC236}">
                <a16:creationId xmlns:a16="http://schemas.microsoft.com/office/drawing/2014/main" id="{60A7792F-9090-4A87-8964-DF22B9449CE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369300" y="4922063"/>
            <a:ext cx="3608274" cy="393700"/>
          </a:xfrm>
        </p:spPr>
        <p:txBody>
          <a:bodyPr anchor="b"/>
          <a:lstStyle>
            <a:lvl1pPr marL="0" indent="0">
              <a:buNone/>
              <a:defRPr sz="30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0" name="Text Placeholder 15">
            <a:extLst>
              <a:ext uri="{FF2B5EF4-FFF2-40B4-BE49-F238E27FC236}">
                <a16:creationId xmlns:a16="http://schemas.microsoft.com/office/drawing/2014/main" id="{A80D731A-25DF-478D-9DD2-54A9511D84F4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8369300" y="5428970"/>
            <a:ext cx="3608274" cy="39370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D6001A3-F024-4A8E-B5CF-D1D78B3F4E4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866900" y="1771827"/>
            <a:ext cx="895350" cy="872978"/>
          </a:xfrm>
          <a:prstGeom prst="ellipse">
            <a:avLst/>
          </a:prstGeom>
          <a:solidFill>
            <a:srgbClr val="00579E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FB244F5A-705A-48E8-927E-F279AC5F5FEC}"/>
              </a:ext>
            </a:extLst>
          </p:cNvPr>
          <p:cNvSpPr>
            <a:spLocks noGrp="1"/>
          </p:cNvSpPr>
          <p:nvPr>
            <p:ph sz="quarter" idx="59" hasCustomPrompt="1"/>
          </p:nvPr>
        </p:nvSpPr>
        <p:spPr>
          <a:xfrm>
            <a:off x="1866900" y="1771827"/>
            <a:ext cx="895350" cy="872978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3" name="Content Placeholder 8">
            <a:extLst>
              <a:ext uri="{FF2B5EF4-FFF2-40B4-BE49-F238E27FC236}">
                <a16:creationId xmlns:a16="http://schemas.microsoft.com/office/drawing/2014/main" id="{3A7F4820-EF59-4DD5-A97C-2CBCBA008F35}"/>
              </a:ext>
            </a:extLst>
          </p:cNvPr>
          <p:cNvSpPr>
            <a:spLocks noGrp="1"/>
          </p:cNvSpPr>
          <p:nvPr>
            <p:ph sz="quarter" idx="60" hasCustomPrompt="1"/>
          </p:nvPr>
        </p:nvSpPr>
        <p:spPr>
          <a:xfrm>
            <a:off x="4238625" y="1771827"/>
            <a:ext cx="895350" cy="872978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F98FC926-9B84-46D8-89CC-E751E9D26A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6900" y="3795682"/>
            <a:ext cx="895350" cy="872978"/>
          </a:xfrm>
          <a:prstGeom prst="ellipse">
            <a:avLst/>
          </a:prstGeom>
          <a:solidFill>
            <a:srgbClr val="C3C2DC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3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3" name="Content Placeholder 8">
            <a:extLst>
              <a:ext uri="{FF2B5EF4-FFF2-40B4-BE49-F238E27FC236}">
                <a16:creationId xmlns:a16="http://schemas.microsoft.com/office/drawing/2014/main" id="{EE315A61-2E68-4EB9-B2F9-BDF0F31BDE53}"/>
              </a:ext>
            </a:extLst>
          </p:cNvPr>
          <p:cNvSpPr>
            <a:spLocks noGrp="1"/>
          </p:cNvSpPr>
          <p:nvPr>
            <p:ph sz="quarter" idx="61" hasCustomPrompt="1"/>
          </p:nvPr>
        </p:nvSpPr>
        <p:spPr>
          <a:xfrm>
            <a:off x="1866900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FAD39D5-056D-4EB9-8E8D-ACED66A3A4F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38625" y="3795682"/>
            <a:ext cx="895350" cy="872978"/>
          </a:xfrm>
          <a:prstGeom prst="ellipse">
            <a:avLst/>
          </a:prstGeom>
          <a:solidFill>
            <a:srgbClr val="7EAECB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40000"/>
                </a:solidFill>
              </a:defRPr>
            </a:lvl1pPr>
            <a:lvl5pPr marL="1800000" indent="0"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5" name="Content Placeholder 8">
            <a:extLst>
              <a:ext uri="{FF2B5EF4-FFF2-40B4-BE49-F238E27FC236}">
                <a16:creationId xmlns:a16="http://schemas.microsoft.com/office/drawing/2014/main" id="{769CDA1B-0410-4357-A97C-A7947A450081}"/>
              </a:ext>
            </a:extLst>
          </p:cNvPr>
          <p:cNvSpPr>
            <a:spLocks noGrp="1"/>
          </p:cNvSpPr>
          <p:nvPr>
            <p:ph sz="quarter" idx="62" hasCustomPrompt="1"/>
          </p:nvPr>
        </p:nvSpPr>
        <p:spPr>
          <a:xfrm>
            <a:off x="4238625" y="3795682"/>
            <a:ext cx="895350" cy="87297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KON HER</a:t>
            </a:r>
          </a:p>
        </p:txBody>
      </p:sp>
      <p:sp>
        <p:nvSpPr>
          <p:cNvPr id="41" name="Text Placeholder 8">
            <a:extLst>
              <a:ext uri="{FF2B5EF4-FFF2-40B4-BE49-F238E27FC236}">
                <a16:creationId xmlns:a16="http://schemas.microsoft.com/office/drawing/2014/main" id="{41910E6F-A89F-470C-B8C5-2CA101D8ECC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2" name="addin_colorlist" hidden="1">
            <a:extLst>
              <a:ext uri="{FF2B5EF4-FFF2-40B4-BE49-F238E27FC236}">
                <a16:creationId xmlns:a16="http://schemas.microsoft.com/office/drawing/2014/main" id="{2530AF2D-9963-4853-BC15-8D5711DC97A8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ikon1, ikon2, ikon3, ikon4</a:t>
            </a:r>
          </a:p>
        </p:txBody>
      </p:sp>
      <p:sp>
        <p:nvSpPr>
          <p:cNvPr id="45" name="addin_colorbox" hidden="1">
            <a:extLst>
              <a:ext uri="{FF2B5EF4-FFF2-40B4-BE49-F238E27FC236}">
                <a16:creationId xmlns:a16="http://schemas.microsoft.com/office/drawing/2014/main" id="{4647CBF0-028B-48BC-8377-8664458D9C7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46" name="addin_background" hidden="1">
            <a:extLst>
              <a:ext uri="{FF2B5EF4-FFF2-40B4-BE49-F238E27FC236}">
                <a16:creationId xmlns:a16="http://schemas.microsoft.com/office/drawing/2014/main" id="{A4BBCABF-1EAD-4EE4-9436-DCF1D6245546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6" name="addin_logo" hidden="1">
            <a:extLst>
              <a:ext uri="{FF2B5EF4-FFF2-40B4-BE49-F238E27FC236}">
                <a16:creationId xmlns:a16="http://schemas.microsoft.com/office/drawing/2014/main" id="{53D5C84E-F74F-4DE1-B8BD-09B906AD981D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57" name="addin_title" hidden="1">
            <a:extLst>
              <a:ext uri="{FF2B5EF4-FFF2-40B4-BE49-F238E27FC236}">
                <a16:creationId xmlns:a16="http://schemas.microsoft.com/office/drawing/2014/main" id="{6A4887B0-59E8-4459-A232-FBE56D3489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58" name="addin_text" hidden="1">
            <a:extLst>
              <a:ext uri="{FF2B5EF4-FFF2-40B4-BE49-F238E27FC236}">
                <a16:creationId xmlns:a16="http://schemas.microsoft.com/office/drawing/2014/main" id="{DFF3A27C-DEC0-4C13-A024-9CDA6FA62D2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59" name="DefLogoHvit" hidden="1">
            <a:extLst>
              <a:ext uri="{FF2B5EF4-FFF2-40B4-BE49-F238E27FC236}">
                <a16:creationId xmlns:a16="http://schemas.microsoft.com/office/drawing/2014/main" id="{E242F738-11B7-4699-ADA7-AD2F8082B21C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62" name="logo_blaa" hidden="1">
            <a:extLst>
              <a:ext uri="{FF2B5EF4-FFF2-40B4-BE49-F238E27FC236}">
                <a16:creationId xmlns:a16="http://schemas.microsoft.com/office/drawing/2014/main" id="{6071EE30-C9B5-496D-8360-6E0AFED06E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63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F9E8CEB5-C9BE-499E-B7EC-47FB4369C50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86069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09692" y="1238672"/>
            <a:ext cx="5242508" cy="5242256"/>
          </a:xfrm>
          <a:prstGeom prst="ellips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242492" y="566738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spcBef>
                <a:spcPts val="1800"/>
              </a:spcBef>
              <a:buNone/>
              <a:defRPr sz="4400"/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93199" y="391996"/>
            <a:ext cx="3269209" cy="642320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C83D3ED5-C123-48D8-BF8E-0476E8596C82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Title 13">
            <a:extLst>
              <a:ext uri="{FF2B5EF4-FFF2-40B4-BE49-F238E27FC236}">
                <a16:creationId xmlns:a16="http://schemas.microsoft.com/office/drawing/2014/main" id="{02A992B5-F485-45DA-B617-5194C3E6D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28E5F674-4C79-44C3-8673-EC472B01890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5" name="Logo">
            <a:extLst>
              <a:ext uri="{FF2B5EF4-FFF2-40B4-BE49-F238E27FC236}">
                <a16:creationId xmlns:a16="http://schemas.microsoft.com/office/drawing/2014/main" id="{6F504348-71B2-47D0-988E-B76DD12970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5938" y="5837638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2188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Neste sid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341667" y="609539"/>
            <a:ext cx="2775947" cy="5931262"/>
          </a:xfrm>
          <a:custGeom>
            <a:avLst/>
            <a:gdLst>
              <a:gd name="connsiteX0" fmla="*/ 0 w 2775947"/>
              <a:gd name="connsiteY0" fmla="*/ 0 h 5931262"/>
              <a:gd name="connsiteX1" fmla="*/ 2775947 w 2775947"/>
              <a:gd name="connsiteY1" fmla="*/ 0 h 5931262"/>
              <a:gd name="connsiteX2" fmla="*/ 2775947 w 2775947"/>
              <a:gd name="connsiteY2" fmla="*/ 5516988 h 5931262"/>
              <a:gd name="connsiteX3" fmla="*/ 2725403 w 2775947"/>
              <a:gd name="connsiteY3" fmla="*/ 5551158 h 5931262"/>
              <a:gd name="connsiteX4" fmla="*/ 1388454 w 2775947"/>
              <a:gd name="connsiteY4" fmla="*/ 5931262 h 5931262"/>
              <a:gd name="connsiteX5" fmla="*/ 51506 w 2775947"/>
              <a:gd name="connsiteY5" fmla="*/ 5551158 h 5931262"/>
              <a:gd name="connsiteX6" fmla="*/ 0 w 2775947"/>
              <a:gd name="connsiteY6" fmla="*/ 5516338 h 593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5947" h="5931262">
                <a:moveTo>
                  <a:pt x="0" y="0"/>
                </a:moveTo>
                <a:lnTo>
                  <a:pt x="2775947" y="0"/>
                </a:lnTo>
                <a:lnTo>
                  <a:pt x="2775947" y="5516988"/>
                </a:lnTo>
                <a:lnTo>
                  <a:pt x="2725403" y="5551158"/>
                </a:lnTo>
                <a:cubicBezTo>
                  <a:pt x="2330248" y="5793781"/>
                  <a:pt x="1872419" y="5931262"/>
                  <a:pt x="1388454" y="5931262"/>
                </a:cubicBezTo>
                <a:cubicBezTo>
                  <a:pt x="904490" y="5931262"/>
                  <a:pt x="446660" y="5793781"/>
                  <a:pt x="51506" y="5551158"/>
                </a:cubicBezTo>
                <a:lnTo>
                  <a:pt x="0" y="5516338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/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092374" y="434797"/>
            <a:ext cx="3269209" cy="6423203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2" name="DefLogoHvit" hidden="1">
            <a:extLst>
              <a:ext uri="{FF2B5EF4-FFF2-40B4-BE49-F238E27FC236}">
                <a16:creationId xmlns:a16="http://schemas.microsoft.com/office/drawing/2014/main" id="{DA2EDFEE-A606-400C-BA08-036FC2EA1054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3" name="logo_blaa" hidden="1">
            <a:extLst>
              <a:ext uri="{FF2B5EF4-FFF2-40B4-BE49-F238E27FC236}">
                <a16:creationId xmlns:a16="http://schemas.microsoft.com/office/drawing/2014/main" id="{ABCBE550-D028-43C6-8099-F104E6A5F9D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30E034C5-5E9E-46AC-AFB9-C8D130F8BC1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9204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99CBE4C0-AD7E-4767-A37B-3C4FCC55BF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08867" y="1283854"/>
            <a:ext cx="5242508" cy="5242256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EB04BA6-7A2A-4D75-BF39-32A0AC924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82495" y="2162175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86F47EA2-9057-40E9-8497-026110B55D1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282495" y="3590080"/>
            <a:ext cx="4695079" cy="268763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BAA86799-C55C-4704-8C57-DA7BDC053D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210686" y="6245941"/>
            <a:ext cx="1735008" cy="39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pic>
        <p:nvPicPr>
          <p:cNvPr id="22" name="Circle 2">
            <a:extLst>
              <a:ext uri="{FF2B5EF4-FFF2-40B4-BE49-F238E27FC236}">
                <a16:creationId xmlns:a16="http://schemas.microsoft.com/office/drawing/2014/main" id="{643EB9AF-85D6-452D-8D92-900AFF59F2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35075" y="1303425"/>
            <a:ext cx="5019194" cy="5019194"/>
          </a:xfrm>
          <a:prstGeom prst="rect">
            <a:avLst/>
          </a:prstGeom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1557912" y="3841396"/>
            <a:ext cx="4211870" cy="237681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/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0D2883-1DBB-4A89-BE2A-3AB6A6803EC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36677" y="3408539"/>
            <a:ext cx="4968936" cy="4090061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3" name="DefLogoHvit" hidden="1">
            <a:extLst>
              <a:ext uri="{FF2B5EF4-FFF2-40B4-BE49-F238E27FC236}">
                <a16:creationId xmlns:a16="http://schemas.microsoft.com/office/drawing/2014/main" id="{FE9B16F9-B2E4-4D04-B8EE-E3F64D05C406}"/>
              </a:ext>
            </a:extLst>
          </p:cNvPr>
          <p:cNvSpPr/>
          <p:nvPr userDrawn="1"/>
        </p:nvSpPr>
        <p:spPr>
          <a:xfrm>
            <a:off x="-1581150" y="-1371600"/>
            <a:ext cx="180000" cy="18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4" name="logo_blaa" hidden="1">
            <a:extLst>
              <a:ext uri="{FF2B5EF4-FFF2-40B4-BE49-F238E27FC236}">
                <a16:creationId xmlns:a16="http://schemas.microsoft.com/office/drawing/2014/main" id="{01220CB3-0E4F-4806-A40C-578F55CA2B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  <p:pic>
        <p:nvPicPr>
          <p:cNvPr id="25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C401D185-410C-4B5F-9507-9A9A25BEC9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566" y="6245941"/>
            <a:ext cx="1735008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681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8" dur="2000" fill="hold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81 " pathEditMode="relative" ptsTypes="AA">
                                      <p:cBhvr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0 -0.2581 " pathEditMode="relative" ptsTypes="AA">
                      <p:cBhvr>
                        <p:cTn dur="2000" fill="hold"/>
                        <p:tgtEl>
                          <p:spTgt spid="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bilside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BB0CE27-C394-4607-98BB-7BA11CE74F4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05B3895D-1033-44B5-BEE9-FB4C152506A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0095499">
            <a:off x="7470934" y="2251972"/>
            <a:ext cx="2477110" cy="5326551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/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7CB38BD-06CD-4641-A90C-18CE66C56A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 rot="20087460">
            <a:off x="7250598" y="2087988"/>
            <a:ext cx="2902052" cy="56366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8" name="Picture Placeholder 31">
            <a:extLst>
              <a:ext uri="{FF2B5EF4-FFF2-40B4-BE49-F238E27FC236}">
                <a16:creationId xmlns:a16="http://schemas.microsoft.com/office/drawing/2014/main" id="{81C825AF-C1C5-44BB-9F0A-1E28516D9E18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 rot="20095499">
            <a:off x="11413087" y="3189250"/>
            <a:ext cx="2480710" cy="5321378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/>
            </a:lvl1pPr>
          </a:lstStyle>
          <a:p>
            <a:br>
              <a:rPr lang="en-US" dirty="0"/>
            </a:br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endParaRPr lang="en-US" dirty="0"/>
          </a:p>
        </p:txBody>
      </p:sp>
      <p:sp>
        <p:nvSpPr>
          <p:cNvPr id="26" name="Text Placeholder 64">
            <a:extLst>
              <a:ext uri="{FF2B5EF4-FFF2-40B4-BE49-F238E27FC236}">
                <a16:creationId xmlns:a16="http://schemas.microsoft.com/office/drawing/2014/main" id="{8001664F-BDA3-427D-9F79-FBB525E0DF0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 rot="20087460">
            <a:off x="11194429" y="3019296"/>
            <a:ext cx="2902052" cy="56366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6FA45245-CF0F-4C62-9C54-940D3464471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5938" y="5837638"/>
            <a:ext cx="50760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183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3.33333E-6 L -0.0625 -0.2388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8" dur="2000" fill="hold"/>
                                        <p:tgtEl>
                                          <p:spTgt spid="6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0" dur="20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7.40741E-7 L -0.0625 -0.23889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" y="-1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4" dur="2000" fill="hold"/>
                                        <p:tgtEl>
                                          <p:spTgt spid="2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0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625 -0.23889 " pathEditMode="relative" ptsTypes="AA">
                                      <p:cBhvr>
                                        <p:cTn id="18" dur="20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65" grpId="0" uiExpand="1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6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8" grpId="0"/>
      <p:bldP spid="26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clickEffect">
                  <p:stCondLst>
                    <p:cond delay="0"/>
                  </p:stCondLst>
                  <p:childTnLst>
                    <p:animMotion origin="layout" path="M 0 0 L -0.0625 -0.23889 " pathEditMode="relative" ptsTypes="AA">
                      <p:cBhvr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c (Animasjon)">
    <p:bg>
      <p:bgPr>
        <a:solidFill>
          <a:srgbClr val="F8E9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4A80CED5-AB6B-4994-B3E6-B97FBE16A80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96002" y="1"/>
            <a:ext cx="6095999" cy="6857998"/>
          </a:xfrm>
          <a:custGeom>
            <a:avLst/>
            <a:gdLst>
              <a:gd name="connsiteX0" fmla="*/ 1649621 w 6095999"/>
              <a:gd name="connsiteY0" fmla="*/ 0 h 6857998"/>
              <a:gd name="connsiteX1" fmla="*/ 6095999 w 6095999"/>
              <a:gd name="connsiteY1" fmla="*/ 0 h 6857998"/>
              <a:gd name="connsiteX2" fmla="*/ 6095999 w 6095999"/>
              <a:gd name="connsiteY2" fmla="*/ 6857998 h 6857998"/>
              <a:gd name="connsiteX3" fmla="*/ 1650155 w 6095999"/>
              <a:gd name="connsiteY3" fmla="*/ 6857998 h 6857998"/>
              <a:gd name="connsiteX4" fmla="*/ 1597925 w 6095999"/>
              <a:gd name="connsiteY4" fmla="*/ 6816955 h 6857998"/>
              <a:gd name="connsiteX5" fmla="*/ 0 w 6095999"/>
              <a:gd name="connsiteY5" fmla="*/ 3428789 h 6857998"/>
              <a:gd name="connsiteX6" fmla="*/ 1597925 w 6095999"/>
              <a:gd name="connsiteY6" fmla="*/ 4062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5999" h="6857998">
                <a:moveTo>
                  <a:pt x="1649621" y="0"/>
                </a:moveTo>
                <a:lnTo>
                  <a:pt x="6095999" y="0"/>
                </a:lnTo>
                <a:lnTo>
                  <a:pt x="6095999" y="6857998"/>
                </a:lnTo>
                <a:lnTo>
                  <a:pt x="1650155" y="6857998"/>
                </a:lnTo>
                <a:lnTo>
                  <a:pt x="1597925" y="6816955"/>
                </a:lnTo>
                <a:cubicBezTo>
                  <a:pt x="622032" y="6011615"/>
                  <a:pt x="0" y="4792841"/>
                  <a:pt x="0" y="3428789"/>
                </a:cubicBezTo>
                <a:cubicBezTo>
                  <a:pt x="0" y="2064738"/>
                  <a:pt x="622032" y="845963"/>
                  <a:pt x="1597925" y="40623"/>
                </a:cubicBezTo>
                <a:close/>
              </a:path>
            </a:pathLst>
          </a:custGeom>
          <a:solidFill>
            <a:srgbClr val="042478"/>
          </a:solidFill>
        </p:spPr>
        <p:txBody>
          <a:bodyPr wrap="square">
            <a:no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7E879FF-B1C3-4E49-B087-5078BCE6B8A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8A622E-5135-4548-9D33-EC5A904DAC0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42478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addin_colorlist" hidden="1">
            <a:extLst>
              <a:ext uri="{FF2B5EF4-FFF2-40B4-BE49-F238E27FC236}">
                <a16:creationId xmlns:a16="http://schemas.microsoft.com/office/drawing/2014/main" id="{526EE899-D5E9-4D5E-880C-C006EB3F14FB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clr1, clr2, clr3, clr4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BA1CDBB3-7F0F-4B79-80EB-8B3018AC337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358D762E-DF76-4AA4-9D0F-6672D7C7FABB}"/>
              </a:ext>
            </a:extLst>
          </p:cNvPr>
          <p:cNvSpPr/>
          <p:nvPr userDrawn="1"/>
        </p:nvSpPr>
        <p:spPr>
          <a:xfrm>
            <a:off x="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5A17DCCA-A4B0-4CEB-99D6-E36A5526EE97}"/>
              </a:ext>
            </a:extLst>
          </p:cNvPr>
          <p:cNvSpPr/>
          <p:nvPr userDrawn="1"/>
        </p:nvSpPr>
        <p:spPr>
          <a:xfrm>
            <a:off x="729280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938C90AB-F710-484A-B299-8D3A7508F97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B11F346B-C3CB-48BC-9185-50A1BB4FF08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Title 13">
            <a:extLst>
              <a:ext uri="{FF2B5EF4-FFF2-40B4-BE49-F238E27FC236}">
                <a16:creationId xmlns:a16="http://schemas.microsoft.com/office/drawing/2014/main" id="{F2EC2875-A8E4-4C69-9D40-24A9CCC2F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1206151"/>
            <a:ext cx="4695079" cy="1251744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rgbClr val="042478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C6E809E9-2EE0-4D5E-ABD5-7560E83DF0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15913" y="2819152"/>
            <a:ext cx="4695079" cy="2687638"/>
          </a:xfrm>
        </p:spPr>
        <p:txBody>
          <a:bodyPr/>
          <a:lstStyle>
            <a:lvl1pPr>
              <a:defRPr sz="1400">
                <a:solidFill>
                  <a:srgbClr val="042478"/>
                </a:solidFill>
              </a:defRPr>
            </a:lvl1pPr>
            <a:lvl2pPr>
              <a:defRPr sz="1200">
                <a:solidFill>
                  <a:srgbClr val="042478"/>
                </a:solidFill>
              </a:defRPr>
            </a:lvl2pPr>
            <a:lvl3pPr>
              <a:defRPr sz="1100">
                <a:solidFill>
                  <a:srgbClr val="042478"/>
                </a:solidFill>
              </a:defRPr>
            </a:lvl3pPr>
            <a:lvl4pPr>
              <a:defRPr sz="1000">
                <a:solidFill>
                  <a:srgbClr val="042478"/>
                </a:solidFill>
              </a:defRPr>
            </a:lvl4pPr>
            <a:lvl5pPr>
              <a:defRPr sz="900">
                <a:solidFill>
                  <a:srgbClr val="042478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pic>
        <p:nvPicPr>
          <p:cNvPr id="27" name="Logo">
            <a:extLst>
              <a:ext uri="{FF2B5EF4-FFF2-40B4-BE49-F238E27FC236}">
                <a16:creationId xmlns:a16="http://schemas.microsoft.com/office/drawing/2014/main" id="{6FA45245-CF0F-4C62-9C54-940D346447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5938" y="5837638"/>
            <a:ext cx="507600" cy="507600"/>
          </a:xfrm>
          <a:prstGeom prst="rect">
            <a:avLst/>
          </a:prstGeom>
        </p:spPr>
      </p:pic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EDD01A2-4366-4D2C-A0E7-B1B95B71D09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44477" y="1750446"/>
            <a:ext cx="5995752" cy="493526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4" name="Picture Placeholder 31">
            <a:extLst>
              <a:ext uri="{FF2B5EF4-FFF2-40B4-BE49-F238E27FC236}">
                <a16:creationId xmlns:a16="http://schemas.microsoft.com/office/drawing/2014/main" id="{26E0B4AE-3913-4C0F-A569-2625D1C2CEE1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 rot="21127143">
            <a:off x="7230274" y="2275124"/>
            <a:ext cx="5097572" cy="2882167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4400" baseline="0"/>
            </a:lvl1pPr>
          </a:lstStyle>
          <a:p>
            <a:r>
              <a:rPr lang="en-US" dirty="0"/>
              <a:t>Sett inn </a:t>
            </a:r>
            <a:r>
              <a:rPr lang="en-US" dirty="0" err="1"/>
              <a:t>bilde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meny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7622D3-E2C3-498F-9799-B2CB374E63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25569" y="5636682"/>
            <a:ext cx="3947160" cy="646518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ECCB4E4-C2B8-4505-B3B2-E7A16D1D597F}"/>
              </a:ext>
            </a:extLst>
          </p:cNvPr>
          <p:cNvSpPr txBox="1"/>
          <p:nvPr userDrawn="1"/>
        </p:nvSpPr>
        <p:spPr>
          <a:xfrm>
            <a:off x="6821714" y="2445657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B9D396-4FA5-4E05-AA33-A3B2F34FDFD0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65075B-279A-49F7-9EF7-C440206021BF}"/>
              </a:ext>
            </a:extLst>
          </p:cNvPr>
          <p:cNvSpPr txBox="1"/>
          <p:nvPr userDrawn="1"/>
        </p:nvSpPr>
        <p:spPr>
          <a:xfrm>
            <a:off x="6778171" y="2685142"/>
            <a:ext cx="914400" cy="914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D69F34-0256-46BB-95B6-72F3160484E5}"/>
              </a:ext>
            </a:extLst>
          </p:cNvPr>
          <p:cNvSpPr txBox="1"/>
          <p:nvPr userDrawn="1"/>
        </p:nvSpPr>
        <p:spPr>
          <a:xfrm>
            <a:off x="5054535" y="-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60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6" dur="2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3437 -0.14167 " pathEditMode="relative" ptsTypes="AA">
                                      <p:cBhvr>
                                        <p:cTn id="8" dur="2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1.85185E-6 L -0.03437 -0.14167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9" y="-7083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789 0.17593 L 4.58333E-6 -1.48148E-6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4" y="-9051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383 0.10393 L 0.24388 0.2006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503" y="48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 animBg="1">
        <p:tmplLst>
          <p:tmpl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  <p:tmpl lvl="1">
            <p:tnLst>
              <p:par>
                <p:cTn presetID="0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 0 L -0.03437 -0.14167 " pathEditMode="relative" ptsTypes="AA">
                      <p:cBhvr>
                        <p:cTn dur="20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</p:animMotion>
                  </p:childTnLst>
                </p:cTn>
              </p:par>
            </p:tnLst>
          </p:tmpl>
        </p:tmplLst>
      </p:bldP>
      <p:bldP spid="24" grpId="0"/>
      <p:bldP spid="3" grpId="0" uiExpand="1" build="p" animBg="1">
        <p:tmplLst>
          <p:tmpl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08789 0.17593 L 4.58333E-6 -1.48148E-6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-4284" y="-9051"/>
                    </p:animMotion>
                  </p:childTnLst>
                </p:cTn>
              </p:par>
            </p:tnLst>
          </p:tmpl>
          <p:tmpl lvl="1">
            <p:tnLst>
              <p:par>
                <p:cTn presetID="42" presetClass="path" presetSubtype="0" accel="50000" decel="50000" fill="hold" nodeType="withEffect">
                  <p:stCondLst>
                    <p:cond delay="0"/>
                  </p:stCondLst>
                  <p:childTnLst>
                    <p:animMotion origin="layout" path="M 0.17383 0.10393 L 0.24388 0.20069 " pathEditMode="relative" rAng="0" ptsTypes="AA">
                      <p:cBhvr>
                        <p:cTn dur="2000" fill="hold"/>
                        <p:tgtEl>
                          <p:spTgt spid="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3503" y="4838"/>
                    </p:animMotion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image" Target="../media/image4.png"/><Relationship Id="rId68" Type="http://schemas.openxmlformats.org/officeDocument/2006/relationships/image" Target="../media/image9.png"/><Relationship Id="rId84" Type="http://schemas.openxmlformats.org/officeDocument/2006/relationships/image" Target="../media/image25.png"/><Relationship Id="rId89" Type="http://schemas.openxmlformats.org/officeDocument/2006/relationships/image" Target="../media/image30.png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image" Target="../media/image15.png"/><Relationship Id="rId79" Type="http://schemas.openxmlformats.org/officeDocument/2006/relationships/image" Target="../media/image20.png"/><Relationship Id="rId102" Type="http://schemas.openxmlformats.org/officeDocument/2006/relationships/image" Target="../media/image43.png"/><Relationship Id="rId5" Type="http://schemas.openxmlformats.org/officeDocument/2006/relationships/slideLayout" Target="../slideLayouts/slideLayout5.xml"/><Relationship Id="rId90" Type="http://schemas.openxmlformats.org/officeDocument/2006/relationships/image" Target="../media/image31.png"/><Relationship Id="rId95" Type="http://schemas.openxmlformats.org/officeDocument/2006/relationships/image" Target="../media/image36.png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image" Target="../media/image5.png"/><Relationship Id="rId69" Type="http://schemas.openxmlformats.org/officeDocument/2006/relationships/image" Target="../media/image10.png"/><Relationship Id="rId80" Type="http://schemas.openxmlformats.org/officeDocument/2006/relationships/image" Target="../media/image21.png"/><Relationship Id="rId85" Type="http://schemas.openxmlformats.org/officeDocument/2006/relationships/image" Target="../media/image26.png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theme" Target="../theme/theme1.xml"/><Relationship Id="rId103" Type="http://schemas.openxmlformats.org/officeDocument/2006/relationships/image" Target="../media/image44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3.png"/><Relationship Id="rId70" Type="http://schemas.openxmlformats.org/officeDocument/2006/relationships/image" Target="../media/image11.png"/><Relationship Id="rId75" Type="http://schemas.openxmlformats.org/officeDocument/2006/relationships/image" Target="../media/image16.png"/><Relationship Id="rId83" Type="http://schemas.openxmlformats.org/officeDocument/2006/relationships/image" Target="../media/image24.png"/><Relationship Id="rId88" Type="http://schemas.openxmlformats.org/officeDocument/2006/relationships/image" Target="../media/image29.png"/><Relationship Id="rId91" Type="http://schemas.openxmlformats.org/officeDocument/2006/relationships/image" Target="../media/image32.png"/><Relationship Id="rId96" Type="http://schemas.openxmlformats.org/officeDocument/2006/relationships/image" Target="../media/image37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png"/><Relationship Id="rId65" Type="http://schemas.openxmlformats.org/officeDocument/2006/relationships/image" Target="../media/image6.png"/><Relationship Id="rId73" Type="http://schemas.openxmlformats.org/officeDocument/2006/relationships/image" Target="../media/image14.png"/><Relationship Id="rId78" Type="http://schemas.openxmlformats.org/officeDocument/2006/relationships/image" Target="../media/image19.png"/><Relationship Id="rId81" Type="http://schemas.openxmlformats.org/officeDocument/2006/relationships/image" Target="../media/image22.png"/><Relationship Id="rId86" Type="http://schemas.openxmlformats.org/officeDocument/2006/relationships/image" Target="../media/image27.png"/><Relationship Id="rId94" Type="http://schemas.openxmlformats.org/officeDocument/2006/relationships/image" Target="../media/image35.png"/><Relationship Id="rId99" Type="http://schemas.openxmlformats.org/officeDocument/2006/relationships/image" Target="../media/image40.png"/><Relationship Id="rId101" Type="http://schemas.openxmlformats.org/officeDocument/2006/relationships/image" Target="../media/image4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image" Target="../media/image17.png"/><Relationship Id="rId97" Type="http://schemas.openxmlformats.org/officeDocument/2006/relationships/image" Target="../media/image38.png"/><Relationship Id="rId104" Type="http://schemas.openxmlformats.org/officeDocument/2006/relationships/image" Target="../media/image45.png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2.png"/><Relationship Id="rId92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image" Target="../media/image7.png"/><Relationship Id="rId87" Type="http://schemas.openxmlformats.org/officeDocument/2006/relationships/image" Target="../media/image28.png"/><Relationship Id="rId61" Type="http://schemas.openxmlformats.org/officeDocument/2006/relationships/image" Target="../media/image2.svg"/><Relationship Id="rId82" Type="http://schemas.openxmlformats.org/officeDocument/2006/relationships/image" Target="../media/image23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image" Target="../media/image18.png"/><Relationship Id="rId100" Type="http://schemas.openxmlformats.org/officeDocument/2006/relationships/image" Target="../media/image41.png"/><Relationship Id="rId105" Type="http://schemas.openxmlformats.org/officeDocument/2006/relationships/image" Target="../media/image46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3.png"/><Relationship Id="rId93" Type="http://schemas.openxmlformats.org/officeDocument/2006/relationships/image" Target="../media/image34.png"/><Relationship Id="rId98" Type="http://schemas.openxmlformats.org/officeDocument/2006/relationships/image" Target="../media/image39.png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image" Target="../media/image8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63" Type="http://schemas.openxmlformats.org/officeDocument/2006/relationships/image" Target="../media/image62.png"/><Relationship Id="rId68" Type="http://schemas.openxmlformats.org/officeDocument/2006/relationships/image" Target="../media/image19.png"/><Relationship Id="rId84" Type="http://schemas.openxmlformats.org/officeDocument/2006/relationships/image" Target="../media/image43.png"/><Relationship Id="rId89" Type="http://schemas.openxmlformats.org/officeDocument/2006/relationships/image" Target="../media/image4.png"/><Relationship Id="rId1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53" Type="http://schemas.openxmlformats.org/officeDocument/2006/relationships/tags" Target="../tags/tag2.xml"/><Relationship Id="rId58" Type="http://schemas.openxmlformats.org/officeDocument/2006/relationships/image" Target="../media/image5.png"/><Relationship Id="rId74" Type="http://schemas.openxmlformats.org/officeDocument/2006/relationships/image" Target="../media/image27.png"/><Relationship Id="rId79" Type="http://schemas.openxmlformats.org/officeDocument/2006/relationships/image" Target="../media/image36.png"/><Relationship Id="rId5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56" Type="http://schemas.openxmlformats.org/officeDocument/2006/relationships/image" Target="../media/image1.png"/><Relationship Id="rId64" Type="http://schemas.openxmlformats.org/officeDocument/2006/relationships/image" Target="../media/image13.png"/><Relationship Id="rId69" Type="http://schemas.openxmlformats.org/officeDocument/2006/relationships/image" Target="../media/image20.png"/><Relationship Id="rId77" Type="http://schemas.openxmlformats.org/officeDocument/2006/relationships/image" Target="../media/image32.png"/><Relationship Id="rId8" Type="http://schemas.openxmlformats.org/officeDocument/2006/relationships/slideLayout" Target="../slideLayouts/slideLayout66.xml"/><Relationship Id="rId51" Type="http://schemas.openxmlformats.org/officeDocument/2006/relationships/slideLayout" Target="../slideLayouts/slideLayout109.xml"/><Relationship Id="rId72" Type="http://schemas.openxmlformats.org/officeDocument/2006/relationships/image" Target="../media/image63.png"/><Relationship Id="rId80" Type="http://schemas.openxmlformats.org/officeDocument/2006/relationships/image" Target="../media/image37.png"/><Relationship Id="rId85" Type="http://schemas.openxmlformats.org/officeDocument/2006/relationships/image" Target="../media/image44.png"/><Relationship Id="rId3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59" Type="http://schemas.openxmlformats.org/officeDocument/2006/relationships/image" Target="../media/image6.png"/><Relationship Id="rId67" Type="http://schemas.openxmlformats.org/officeDocument/2006/relationships/image" Target="../media/image16.png"/><Relationship Id="rId20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9.xml"/><Relationship Id="rId54" Type="http://schemas.openxmlformats.org/officeDocument/2006/relationships/oleObject" Target="../embeddings/oleObject1.bin"/><Relationship Id="rId62" Type="http://schemas.openxmlformats.org/officeDocument/2006/relationships/image" Target="../media/image61.png"/><Relationship Id="rId70" Type="http://schemas.openxmlformats.org/officeDocument/2006/relationships/image" Target="../media/image21.png"/><Relationship Id="rId75" Type="http://schemas.openxmlformats.org/officeDocument/2006/relationships/image" Target="../media/image28.png"/><Relationship Id="rId83" Type="http://schemas.openxmlformats.org/officeDocument/2006/relationships/image" Target="../media/image42.png"/><Relationship Id="rId88" Type="http://schemas.openxmlformats.org/officeDocument/2006/relationships/image" Target="../media/image3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slideLayout" Target="../slideLayouts/slideLayout107.xml"/><Relationship Id="rId57" Type="http://schemas.openxmlformats.org/officeDocument/2006/relationships/image" Target="../media/image2.svg"/><Relationship Id="rId10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52" Type="http://schemas.openxmlformats.org/officeDocument/2006/relationships/theme" Target="../theme/theme2.xml"/><Relationship Id="rId60" Type="http://schemas.openxmlformats.org/officeDocument/2006/relationships/image" Target="../media/image9.png"/><Relationship Id="rId65" Type="http://schemas.openxmlformats.org/officeDocument/2006/relationships/image" Target="../media/image14.png"/><Relationship Id="rId73" Type="http://schemas.openxmlformats.org/officeDocument/2006/relationships/image" Target="../media/image64.png"/><Relationship Id="rId78" Type="http://schemas.openxmlformats.org/officeDocument/2006/relationships/image" Target="../media/image35.png"/><Relationship Id="rId81" Type="http://schemas.openxmlformats.org/officeDocument/2006/relationships/image" Target="../media/image38.png"/><Relationship Id="rId86" Type="http://schemas.openxmlformats.org/officeDocument/2006/relationships/image" Target="../media/image65.png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97.xml"/><Relationship Id="rId34" Type="http://schemas.openxmlformats.org/officeDocument/2006/relationships/slideLayout" Target="../slideLayouts/slideLayout92.xml"/><Relationship Id="rId50" Type="http://schemas.openxmlformats.org/officeDocument/2006/relationships/slideLayout" Target="../slideLayouts/slideLayout108.xml"/><Relationship Id="rId55" Type="http://schemas.openxmlformats.org/officeDocument/2006/relationships/image" Target="../media/image60.emf"/><Relationship Id="rId76" Type="http://schemas.openxmlformats.org/officeDocument/2006/relationships/image" Target="../media/image31.png"/><Relationship Id="rId7" Type="http://schemas.openxmlformats.org/officeDocument/2006/relationships/slideLayout" Target="../slideLayouts/slideLayout65.xml"/><Relationship Id="rId71" Type="http://schemas.openxmlformats.org/officeDocument/2006/relationships/image" Target="../media/image22.png"/><Relationship Id="rId2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66" Type="http://schemas.openxmlformats.org/officeDocument/2006/relationships/image" Target="../media/image15.png"/><Relationship Id="rId87" Type="http://schemas.openxmlformats.org/officeDocument/2006/relationships/image" Target="../media/image66.png"/><Relationship Id="rId61" Type="http://schemas.openxmlformats.org/officeDocument/2006/relationships/image" Target="../media/image10.png"/><Relationship Id="rId82" Type="http://schemas.openxmlformats.org/officeDocument/2006/relationships/image" Target="../media/image41.png"/><Relationship Id="rId19" Type="http://schemas.openxmlformats.org/officeDocument/2006/relationships/slideLayout" Target="../slideLayouts/slideLayout7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51.xml"/><Relationship Id="rId47" Type="http://schemas.openxmlformats.org/officeDocument/2006/relationships/slideLayout" Target="../slideLayouts/slideLayout156.xml"/><Relationship Id="rId63" Type="http://schemas.openxmlformats.org/officeDocument/2006/relationships/image" Target="../media/image60.emf"/><Relationship Id="rId68" Type="http://schemas.openxmlformats.org/officeDocument/2006/relationships/image" Target="../media/image79.png"/><Relationship Id="rId84" Type="http://schemas.openxmlformats.org/officeDocument/2006/relationships/image" Target="../media/image95.png"/><Relationship Id="rId89" Type="http://schemas.openxmlformats.org/officeDocument/2006/relationships/image" Target="../media/image100.png"/><Relationship Id="rId16" Type="http://schemas.openxmlformats.org/officeDocument/2006/relationships/slideLayout" Target="../slideLayouts/slideLayout125.xml"/><Relationship Id="rId107" Type="http://schemas.openxmlformats.org/officeDocument/2006/relationships/image" Target="../media/image118.png"/><Relationship Id="rId11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41.xml"/><Relationship Id="rId37" Type="http://schemas.openxmlformats.org/officeDocument/2006/relationships/slideLayout" Target="../slideLayouts/slideLayout146.xml"/><Relationship Id="rId53" Type="http://schemas.openxmlformats.org/officeDocument/2006/relationships/slideLayout" Target="../slideLayouts/slideLayout162.xml"/><Relationship Id="rId58" Type="http://schemas.openxmlformats.org/officeDocument/2006/relationships/slideLayout" Target="../slideLayouts/slideLayout167.xml"/><Relationship Id="rId74" Type="http://schemas.openxmlformats.org/officeDocument/2006/relationships/image" Target="../media/image85.png"/><Relationship Id="rId79" Type="http://schemas.openxmlformats.org/officeDocument/2006/relationships/image" Target="../media/image90.png"/><Relationship Id="rId102" Type="http://schemas.openxmlformats.org/officeDocument/2006/relationships/image" Target="../media/image113.png"/><Relationship Id="rId5" Type="http://schemas.openxmlformats.org/officeDocument/2006/relationships/slideLayout" Target="../slideLayouts/slideLayout114.xml"/><Relationship Id="rId90" Type="http://schemas.openxmlformats.org/officeDocument/2006/relationships/image" Target="../media/image101.png"/><Relationship Id="rId95" Type="http://schemas.openxmlformats.org/officeDocument/2006/relationships/image" Target="../media/image106.png"/><Relationship Id="rId22" Type="http://schemas.openxmlformats.org/officeDocument/2006/relationships/slideLayout" Target="../slideLayouts/slideLayout131.xml"/><Relationship Id="rId27" Type="http://schemas.openxmlformats.org/officeDocument/2006/relationships/slideLayout" Target="../slideLayouts/slideLayout136.xml"/><Relationship Id="rId43" Type="http://schemas.openxmlformats.org/officeDocument/2006/relationships/slideLayout" Target="../slideLayouts/slideLayout152.xml"/><Relationship Id="rId48" Type="http://schemas.openxmlformats.org/officeDocument/2006/relationships/slideLayout" Target="../slideLayouts/slideLayout157.xml"/><Relationship Id="rId64" Type="http://schemas.openxmlformats.org/officeDocument/2006/relationships/image" Target="../media/image1.png"/><Relationship Id="rId69" Type="http://schemas.openxmlformats.org/officeDocument/2006/relationships/image" Target="../media/image80.png"/><Relationship Id="rId80" Type="http://schemas.openxmlformats.org/officeDocument/2006/relationships/image" Target="../media/image91.png"/><Relationship Id="rId85" Type="http://schemas.openxmlformats.org/officeDocument/2006/relationships/image" Target="../media/image96.png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33" Type="http://schemas.openxmlformats.org/officeDocument/2006/relationships/slideLayout" Target="../slideLayouts/slideLayout142.xml"/><Relationship Id="rId38" Type="http://schemas.openxmlformats.org/officeDocument/2006/relationships/slideLayout" Target="../slideLayouts/slideLayout147.xml"/><Relationship Id="rId59" Type="http://schemas.openxmlformats.org/officeDocument/2006/relationships/slideLayout" Target="../slideLayouts/slideLayout168.xml"/><Relationship Id="rId103" Type="http://schemas.openxmlformats.org/officeDocument/2006/relationships/image" Target="../media/image114.png"/><Relationship Id="rId20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50.xml"/><Relationship Id="rId54" Type="http://schemas.openxmlformats.org/officeDocument/2006/relationships/slideLayout" Target="../slideLayouts/slideLayout163.xml"/><Relationship Id="rId62" Type="http://schemas.openxmlformats.org/officeDocument/2006/relationships/oleObject" Target="../embeddings/oleObject2.bin"/><Relationship Id="rId70" Type="http://schemas.openxmlformats.org/officeDocument/2006/relationships/image" Target="../media/image81.png"/><Relationship Id="rId75" Type="http://schemas.openxmlformats.org/officeDocument/2006/relationships/image" Target="../media/image86.png"/><Relationship Id="rId83" Type="http://schemas.openxmlformats.org/officeDocument/2006/relationships/image" Target="../media/image94.png"/><Relationship Id="rId88" Type="http://schemas.openxmlformats.org/officeDocument/2006/relationships/image" Target="../media/image99.png"/><Relationship Id="rId91" Type="http://schemas.openxmlformats.org/officeDocument/2006/relationships/image" Target="../media/image102.png"/><Relationship Id="rId96" Type="http://schemas.openxmlformats.org/officeDocument/2006/relationships/image" Target="../media/image107.png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4.xml"/><Relationship Id="rId23" Type="http://schemas.openxmlformats.org/officeDocument/2006/relationships/slideLayout" Target="../slideLayouts/slideLayout132.xml"/><Relationship Id="rId28" Type="http://schemas.openxmlformats.org/officeDocument/2006/relationships/slideLayout" Target="../slideLayouts/slideLayout137.xml"/><Relationship Id="rId36" Type="http://schemas.openxmlformats.org/officeDocument/2006/relationships/slideLayout" Target="../slideLayouts/slideLayout145.xml"/><Relationship Id="rId49" Type="http://schemas.openxmlformats.org/officeDocument/2006/relationships/slideLayout" Target="../slideLayouts/slideLayout158.xml"/><Relationship Id="rId57" Type="http://schemas.openxmlformats.org/officeDocument/2006/relationships/slideLayout" Target="../slideLayouts/slideLayout166.xml"/><Relationship Id="rId106" Type="http://schemas.openxmlformats.org/officeDocument/2006/relationships/image" Target="../media/image117.png"/><Relationship Id="rId10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40.xml"/><Relationship Id="rId44" Type="http://schemas.openxmlformats.org/officeDocument/2006/relationships/slideLayout" Target="../slideLayouts/slideLayout153.xml"/><Relationship Id="rId52" Type="http://schemas.openxmlformats.org/officeDocument/2006/relationships/slideLayout" Target="../slideLayouts/slideLayout161.xml"/><Relationship Id="rId60" Type="http://schemas.openxmlformats.org/officeDocument/2006/relationships/theme" Target="../theme/theme3.xml"/><Relationship Id="rId65" Type="http://schemas.openxmlformats.org/officeDocument/2006/relationships/image" Target="../media/image2.svg"/><Relationship Id="rId73" Type="http://schemas.openxmlformats.org/officeDocument/2006/relationships/image" Target="../media/image84.png"/><Relationship Id="rId78" Type="http://schemas.openxmlformats.org/officeDocument/2006/relationships/image" Target="../media/image89.png"/><Relationship Id="rId81" Type="http://schemas.openxmlformats.org/officeDocument/2006/relationships/image" Target="../media/image92.png"/><Relationship Id="rId86" Type="http://schemas.openxmlformats.org/officeDocument/2006/relationships/image" Target="../media/image97.png"/><Relationship Id="rId94" Type="http://schemas.openxmlformats.org/officeDocument/2006/relationships/image" Target="../media/image105.png"/><Relationship Id="rId99" Type="http://schemas.openxmlformats.org/officeDocument/2006/relationships/image" Target="../media/image110.png"/><Relationship Id="rId101" Type="http://schemas.openxmlformats.org/officeDocument/2006/relationships/image" Target="../media/image112.png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9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143.xml"/><Relationship Id="rId50" Type="http://schemas.openxmlformats.org/officeDocument/2006/relationships/slideLayout" Target="../slideLayouts/slideLayout159.xml"/><Relationship Id="rId55" Type="http://schemas.openxmlformats.org/officeDocument/2006/relationships/slideLayout" Target="../slideLayouts/slideLayout164.xml"/><Relationship Id="rId76" Type="http://schemas.openxmlformats.org/officeDocument/2006/relationships/image" Target="../media/image87.png"/><Relationship Id="rId97" Type="http://schemas.openxmlformats.org/officeDocument/2006/relationships/image" Target="../media/image108.png"/><Relationship Id="rId104" Type="http://schemas.openxmlformats.org/officeDocument/2006/relationships/image" Target="../media/image115.png"/><Relationship Id="rId7" Type="http://schemas.openxmlformats.org/officeDocument/2006/relationships/slideLayout" Target="../slideLayouts/slideLayout116.xml"/><Relationship Id="rId71" Type="http://schemas.openxmlformats.org/officeDocument/2006/relationships/image" Target="../media/image82.png"/><Relationship Id="rId92" Type="http://schemas.openxmlformats.org/officeDocument/2006/relationships/image" Target="../media/image103.png"/><Relationship Id="rId2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38.xml"/><Relationship Id="rId24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49.xml"/><Relationship Id="rId45" Type="http://schemas.openxmlformats.org/officeDocument/2006/relationships/slideLayout" Target="../slideLayouts/slideLayout154.xml"/><Relationship Id="rId66" Type="http://schemas.openxmlformats.org/officeDocument/2006/relationships/image" Target="../media/image77.png"/><Relationship Id="rId87" Type="http://schemas.openxmlformats.org/officeDocument/2006/relationships/image" Target="../media/image98.png"/><Relationship Id="rId61" Type="http://schemas.openxmlformats.org/officeDocument/2006/relationships/tags" Target="../tags/tag3.xml"/><Relationship Id="rId82" Type="http://schemas.openxmlformats.org/officeDocument/2006/relationships/image" Target="../media/image93.png"/><Relationship Id="rId1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39.xml"/><Relationship Id="rId35" Type="http://schemas.openxmlformats.org/officeDocument/2006/relationships/slideLayout" Target="../slideLayouts/slideLayout144.xml"/><Relationship Id="rId56" Type="http://schemas.openxmlformats.org/officeDocument/2006/relationships/slideLayout" Target="../slideLayouts/slideLayout165.xml"/><Relationship Id="rId77" Type="http://schemas.openxmlformats.org/officeDocument/2006/relationships/image" Target="../media/image88.png"/><Relationship Id="rId100" Type="http://schemas.openxmlformats.org/officeDocument/2006/relationships/image" Target="../media/image111.png"/><Relationship Id="rId105" Type="http://schemas.openxmlformats.org/officeDocument/2006/relationships/image" Target="../media/image116.png"/><Relationship Id="rId8" Type="http://schemas.openxmlformats.org/officeDocument/2006/relationships/slideLayout" Target="../slideLayouts/slideLayout117.xml"/><Relationship Id="rId51" Type="http://schemas.openxmlformats.org/officeDocument/2006/relationships/slideLayout" Target="../slideLayouts/slideLayout160.xml"/><Relationship Id="rId72" Type="http://schemas.openxmlformats.org/officeDocument/2006/relationships/image" Target="../media/image83.png"/><Relationship Id="rId93" Type="http://schemas.openxmlformats.org/officeDocument/2006/relationships/image" Target="../media/image104.png"/><Relationship Id="rId98" Type="http://schemas.openxmlformats.org/officeDocument/2006/relationships/image" Target="../media/image109.png"/><Relationship Id="rId3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34.xml"/><Relationship Id="rId46" Type="http://schemas.openxmlformats.org/officeDocument/2006/relationships/slideLayout" Target="../slideLayouts/slideLayout155.xml"/><Relationship Id="rId67" Type="http://schemas.openxmlformats.org/officeDocument/2006/relationships/image" Target="../media/image78.png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4.xml"/><Relationship Id="rId21" Type="http://schemas.openxmlformats.org/officeDocument/2006/relationships/slideLayout" Target="../slideLayouts/slideLayout189.xml"/><Relationship Id="rId42" Type="http://schemas.openxmlformats.org/officeDocument/2006/relationships/slideLayout" Target="../slideLayouts/slideLayout210.xml"/><Relationship Id="rId47" Type="http://schemas.openxmlformats.org/officeDocument/2006/relationships/slideLayout" Target="../slideLayouts/slideLayout215.xml"/><Relationship Id="rId63" Type="http://schemas.openxmlformats.org/officeDocument/2006/relationships/image" Target="../media/image4.png"/><Relationship Id="rId68" Type="http://schemas.openxmlformats.org/officeDocument/2006/relationships/image" Target="../media/image9.png"/><Relationship Id="rId84" Type="http://schemas.openxmlformats.org/officeDocument/2006/relationships/image" Target="../media/image25.png"/><Relationship Id="rId89" Type="http://schemas.openxmlformats.org/officeDocument/2006/relationships/image" Target="../media/image30.png"/><Relationship Id="rId1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79.xml"/><Relationship Id="rId32" Type="http://schemas.openxmlformats.org/officeDocument/2006/relationships/slideLayout" Target="../slideLayouts/slideLayout200.xml"/><Relationship Id="rId37" Type="http://schemas.openxmlformats.org/officeDocument/2006/relationships/slideLayout" Target="../slideLayouts/slideLayout205.xml"/><Relationship Id="rId53" Type="http://schemas.openxmlformats.org/officeDocument/2006/relationships/slideLayout" Target="../slideLayouts/slideLayout221.xml"/><Relationship Id="rId58" Type="http://schemas.openxmlformats.org/officeDocument/2006/relationships/slideLayout" Target="../slideLayouts/slideLayout226.xml"/><Relationship Id="rId74" Type="http://schemas.openxmlformats.org/officeDocument/2006/relationships/image" Target="../media/image15.png"/><Relationship Id="rId79" Type="http://schemas.openxmlformats.org/officeDocument/2006/relationships/image" Target="../media/image20.png"/><Relationship Id="rId102" Type="http://schemas.openxmlformats.org/officeDocument/2006/relationships/image" Target="../media/image43.png"/><Relationship Id="rId5" Type="http://schemas.openxmlformats.org/officeDocument/2006/relationships/slideLayout" Target="../slideLayouts/slideLayout173.xml"/><Relationship Id="rId90" Type="http://schemas.openxmlformats.org/officeDocument/2006/relationships/image" Target="../media/image31.png"/><Relationship Id="rId95" Type="http://schemas.openxmlformats.org/officeDocument/2006/relationships/image" Target="../media/image36.png"/><Relationship Id="rId22" Type="http://schemas.openxmlformats.org/officeDocument/2006/relationships/slideLayout" Target="../slideLayouts/slideLayout190.xml"/><Relationship Id="rId27" Type="http://schemas.openxmlformats.org/officeDocument/2006/relationships/slideLayout" Target="../slideLayouts/slideLayout195.xml"/><Relationship Id="rId43" Type="http://schemas.openxmlformats.org/officeDocument/2006/relationships/slideLayout" Target="../slideLayouts/slideLayout211.xml"/><Relationship Id="rId48" Type="http://schemas.openxmlformats.org/officeDocument/2006/relationships/slideLayout" Target="../slideLayouts/slideLayout216.xml"/><Relationship Id="rId64" Type="http://schemas.openxmlformats.org/officeDocument/2006/relationships/image" Target="../media/image5.png"/><Relationship Id="rId69" Type="http://schemas.openxmlformats.org/officeDocument/2006/relationships/image" Target="../media/image10.png"/><Relationship Id="rId80" Type="http://schemas.openxmlformats.org/officeDocument/2006/relationships/image" Target="../media/image21.png"/><Relationship Id="rId85" Type="http://schemas.openxmlformats.org/officeDocument/2006/relationships/image" Target="../media/image26.png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33" Type="http://schemas.openxmlformats.org/officeDocument/2006/relationships/slideLayout" Target="../slideLayouts/slideLayout201.xml"/><Relationship Id="rId38" Type="http://schemas.openxmlformats.org/officeDocument/2006/relationships/slideLayout" Target="../slideLayouts/slideLayout206.xml"/><Relationship Id="rId59" Type="http://schemas.openxmlformats.org/officeDocument/2006/relationships/theme" Target="../theme/theme4.xml"/><Relationship Id="rId103" Type="http://schemas.openxmlformats.org/officeDocument/2006/relationships/image" Target="../media/image44.png"/><Relationship Id="rId20" Type="http://schemas.openxmlformats.org/officeDocument/2006/relationships/slideLayout" Target="../slideLayouts/slideLayout188.xml"/><Relationship Id="rId41" Type="http://schemas.openxmlformats.org/officeDocument/2006/relationships/slideLayout" Target="../slideLayouts/slideLayout209.xml"/><Relationship Id="rId54" Type="http://schemas.openxmlformats.org/officeDocument/2006/relationships/slideLayout" Target="../slideLayouts/slideLayout222.xml"/><Relationship Id="rId62" Type="http://schemas.openxmlformats.org/officeDocument/2006/relationships/image" Target="../media/image3.png"/><Relationship Id="rId70" Type="http://schemas.openxmlformats.org/officeDocument/2006/relationships/image" Target="../media/image11.png"/><Relationship Id="rId75" Type="http://schemas.openxmlformats.org/officeDocument/2006/relationships/image" Target="../media/image16.png"/><Relationship Id="rId83" Type="http://schemas.openxmlformats.org/officeDocument/2006/relationships/image" Target="../media/image24.png"/><Relationship Id="rId88" Type="http://schemas.openxmlformats.org/officeDocument/2006/relationships/image" Target="../media/image29.png"/><Relationship Id="rId91" Type="http://schemas.openxmlformats.org/officeDocument/2006/relationships/image" Target="../media/image32.png"/><Relationship Id="rId96" Type="http://schemas.openxmlformats.org/officeDocument/2006/relationships/image" Target="../media/image37.png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28" Type="http://schemas.openxmlformats.org/officeDocument/2006/relationships/slideLayout" Target="../slideLayouts/slideLayout196.xml"/><Relationship Id="rId36" Type="http://schemas.openxmlformats.org/officeDocument/2006/relationships/slideLayout" Target="../slideLayouts/slideLayout204.xml"/><Relationship Id="rId49" Type="http://schemas.openxmlformats.org/officeDocument/2006/relationships/slideLayout" Target="../slideLayouts/slideLayout217.xml"/><Relationship Id="rId57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178.xml"/><Relationship Id="rId31" Type="http://schemas.openxmlformats.org/officeDocument/2006/relationships/slideLayout" Target="../slideLayouts/slideLayout199.xml"/><Relationship Id="rId44" Type="http://schemas.openxmlformats.org/officeDocument/2006/relationships/slideLayout" Target="../slideLayouts/slideLayout212.xml"/><Relationship Id="rId52" Type="http://schemas.openxmlformats.org/officeDocument/2006/relationships/slideLayout" Target="../slideLayouts/slideLayout220.xml"/><Relationship Id="rId60" Type="http://schemas.openxmlformats.org/officeDocument/2006/relationships/image" Target="../media/image1.png"/><Relationship Id="rId65" Type="http://schemas.openxmlformats.org/officeDocument/2006/relationships/image" Target="../media/image6.png"/><Relationship Id="rId73" Type="http://schemas.openxmlformats.org/officeDocument/2006/relationships/image" Target="../media/image14.png"/><Relationship Id="rId78" Type="http://schemas.openxmlformats.org/officeDocument/2006/relationships/image" Target="../media/image19.png"/><Relationship Id="rId81" Type="http://schemas.openxmlformats.org/officeDocument/2006/relationships/image" Target="../media/image22.png"/><Relationship Id="rId86" Type="http://schemas.openxmlformats.org/officeDocument/2006/relationships/image" Target="../media/image27.png"/><Relationship Id="rId94" Type="http://schemas.openxmlformats.org/officeDocument/2006/relationships/image" Target="../media/image35.png"/><Relationship Id="rId99" Type="http://schemas.openxmlformats.org/officeDocument/2006/relationships/image" Target="../media/image40.png"/><Relationship Id="rId101" Type="http://schemas.openxmlformats.org/officeDocument/2006/relationships/image" Target="../media/image42.png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39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02.xml"/><Relationship Id="rId50" Type="http://schemas.openxmlformats.org/officeDocument/2006/relationships/slideLayout" Target="../slideLayouts/slideLayout218.xml"/><Relationship Id="rId55" Type="http://schemas.openxmlformats.org/officeDocument/2006/relationships/slideLayout" Target="../slideLayouts/slideLayout223.xml"/><Relationship Id="rId76" Type="http://schemas.openxmlformats.org/officeDocument/2006/relationships/image" Target="../media/image17.png"/><Relationship Id="rId97" Type="http://schemas.openxmlformats.org/officeDocument/2006/relationships/image" Target="../media/image38.png"/><Relationship Id="rId104" Type="http://schemas.openxmlformats.org/officeDocument/2006/relationships/image" Target="../media/image45.png"/><Relationship Id="rId7" Type="http://schemas.openxmlformats.org/officeDocument/2006/relationships/slideLayout" Target="../slideLayouts/slideLayout175.xml"/><Relationship Id="rId71" Type="http://schemas.openxmlformats.org/officeDocument/2006/relationships/image" Target="../media/image12.png"/><Relationship Id="rId92" Type="http://schemas.openxmlformats.org/officeDocument/2006/relationships/image" Target="../media/image33.png"/><Relationship Id="rId2" Type="http://schemas.openxmlformats.org/officeDocument/2006/relationships/slideLayout" Target="../slideLayouts/slideLayout170.xml"/><Relationship Id="rId29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192.xml"/><Relationship Id="rId40" Type="http://schemas.openxmlformats.org/officeDocument/2006/relationships/slideLayout" Target="../slideLayouts/slideLayout208.xml"/><Relationship Id="rId45" Type="http://schemas.openxmlformats.org/officeDocument/2006/relationships/slideLayout" Target="../slideLayouts/slideLayout213.xml"/><Relationship Id="rId66" Type="http://schemas.openxmlformats.org/officeDocument/2006/relationships/image" Target="../media/image7.png"/><Relationship Id="rId87" Type="http://schemas.openxmlformats.org/officeDocument/2006/relationships/image" Target="../media/image28.png"/><Relationship Id="rId61" Type="http://schemas.openxmlformats.org/officeDocument/2006/relationships/image" Target="../media/image2.svg"/><Relationship Id="rId82" Type="http://schemas.openxmlformats.org/officeDocument/2006/relationships/image" Target="../media/image23.png"/><Relationship Id="rId1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82.xml"/><Relationship Id="rId30" Type="http://schemas.openxmlformats.org/officeDocument/2006/relationships/slideLayout" Target="../slideLayouts/slideLayout198.xml"/><Relationship Id="rId35" Type="http://schemas.openxmlformats.org/officeDocument/2006/relationships/slideLayout" Target="../slideLayouts/slideLayout203.xml"/><Relationship Id="rId56" Type="http://schemas.openxmlformats.org/officeDocument/2006/relationships/slideLayout" Target="../slideLayouts/slideLayout224.xml"/><Relationship Id="rId77" Type="http://schemas.openxmlformats.org/officeDocument/2006/relationships/image" Target="../media/image18.png"/><Relationship Id="rId100" Type="http://schemas.openxmlformats.org/officeDocument/2006/relationships/image" Target="../media/image41.png"/><Relationship Id="rId105" Type="http://schemas.openxmlformats.org/officeDocument/2006/relationships/image" Target="../media/image46.png"/><Relationship Id="rId8" Type="http://schemas.openxmlformats.org/officeDocument/2006/relationships/slideLayout" Target="../slideLayouts/slideLayout176.xml"/><Relationship Id="rId51" Type="http://schemas.openxmlformats.org/officeDocument/2006/relationships/slideLayout" Target="../slideLayouts/slideLayout219.xml"/><Relationship Id="rId72" Type="http://schemas.openxmlformats.org/officeDocument/2006/relationships/image" Target="../media/image13.png"/><Relationship Id="rId93" Type="http://schemas.openxmlformats.org/officeDocument/2006/relationships/image" Target="../media/image34.png"/><Relationship Id="rId98" Type="http://schemas.openxmlformats.org/officeDocument/2006/relationships/image" Target="../media/image39.png"/><Relationship Id="rId3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93.xml"/><Relationship Id="rId46" Type="http://schemas.openxmlformats.org/officeDocument/2006/relationships/slideLayout" Target="../slideLayouts/slideLayout214.xml"/><Relationship Id="rId67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 hidden="1">
            <a:extLst>
              <a:ext uri="{FF2B5EF4-FFF2-40B4-BE49-F238E27FC236}">
                <a16:creationId xmlns:a16="http://schemas.microsoft.com/office/drawing/2014/main" id="{12333E4B-DADC-438D-A77F-6F8FFB150D5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2B0E46-2566-4F11-ABAD-D6C0B612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D29D8-B23F-46B7-8050-6AAB182CA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0600" y="2466340"/>
            <a:ext cx="10363200" cy="3685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B729C-D9B5-4BAD-A4AF-B9C9C53C7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800" y="6531818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36BEE-333E-40FE-81F8-7D7530135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013" y="653181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644A0-11AB-422F-BCF2-F71EDA119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704" y="6531818"/>
            <a:ext cx="47625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2B126447-041E-41AD-8F4D-D6CD89ABAD14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9" name="MainLogo" hidden="1">
            <a:extLst>
              <a:ext uri="{FF2B5EF4-FFF2-40B4-BE49-F238E27FC236}">
                <a16:creationId xmlns:a16="http://schemas.microsoft.com/office/drawing/2014/main" id="{0FEC348C-3024-48F7-BA1F-A8E85ED4717D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pic>
        <p:nvPicPr>
          <p:cNvPr id="41" name="Logo_SpareBank1_blaa" hidden="1">
            <a:extLst>
              <a:ext uri="{FF2B5EF4-FFF2-40B4-BE49-F238E27FC236}">
                <a16:creationId xmlns:a16="http://schemas.microsoft.com/office/drawing/2014/main" id="{26889095-5A5D-49DD-A0A5-9AB7450D2561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0700" cy="395530"/>
          </a:xfrm>
          <a:prstGeom prst="rect">
            <a:avLst/>
          </a:prstGeom>
        </p:spPr>
      </p:pic>
      <p:pic>
        <p:nvPicPr>
          <p:cNvPr id="42" name="Logo_SpareBank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281BB2C-43DF-46B5-BFA5-6F4A7CA09A87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0700" cy="395530"/>
          </a:xfrm>
          <a:prstGeom prst="rect">
            <a:avLst/>
          </a:prstGeom>
        </p:spPr>
      </p:pic>
      <p:pic>
        <p:nvPicPr>
          <p:cNvPr id="10" name="Logo_SpareBank1_BV_blaa" hidden="1">
            <a:extLst>
              <a:ext uri="{FF2B5EF4-FFF2-40B4-BE49-F238E27FC236}">
                <a16:creationId xmlns:a16="http://schemas.microsoft.com/office/drawing/2014/main" id="{337BA596-8B64-402E-86E9-AD510C310981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2" name="Logo_SpareBank1_BV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3AAF89-402C-4577-AF3F-CB1B14EE28D5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7" name="Logo_Sparebank1_Finanshuset_SMN_hvit" descr="Et bilde som inneholder tekst, Font, Grafikk, skjermbilde&#10;&#10;Automatisk generert beskrivelse" hidden="1">
            <a:extLst>
              <a:ext uri="{FF2B5EF4-FFF2-40B4-BE49-F238E27FC236}">
                <a16:creationId xmlns:a16="http://schemas.microsoft.com/office/drawing/2014/main" id="{C00983B6-724E-8654-136C-10DA1B36EC1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193" y="6166026"/>
            <a:ext cx="2667000" cy="560754"/>
          </a:xfrm>
          <a:prstGeom prst="rect">
            <a:avLst/>
          </a:prstGeom>
        </p:spPr>
      </p:pic>
      <p:pic>
        <p:nvPicPr>
          <p:cNvPr id="26" name="Logo_Sparebank1_Finanshuset_SMN_blaa" descr="Et bilde som inneholder tekst, Font, skjermbilde, Grafikk&#10;&#10;Automatisk generert beskrivelse" hidden="1">
            <a:extLst>
              <a:ext uri="{FF2B5EF4-FFF2-40B4-BE49-F238E27FC236}">
                <a16:creationId xmlns:a16="http://schemas.microsoft.com/office/drawing/2014/main" id="{E5A439F3-A790-39A5-B921-2222260E11C9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193" y="6166026"/>
            <a:ext cx="2667000" cy="560754"/>
          </a:xfrm>
          <a:prstGeom prst="rect">
            <a:avLst/>
          </a:prstGeom>
        </p:spPr>
      </p:pic>
      <p:pic>
        <p:nvPicPr>
          <p:cNvPr id="13" name="Logo_SpareBank1_Gudbrandsdal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AFD5BAD2-74AE-4444-BCC4-51169384C913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4" name="Logo_SpareBank1_Gudbrandsdal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0BF8D02-10A3-4AC0-BEE6-3B5090834FD0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50" name="Logo_SpareBank1_Hallingdal_Valdres_blaa" descr="Et bilde som inneholder Font, Grafikk, tekst, logo&#10;&#10;Automatisk generert beskrivelse" hidden="1">
            <a:extLst>
              <a:ext uri="{FF2B5EF4-FFF2-40B4-BE49-F238E27FC236}">
                <a16:creationId xmlns:a16="http://schemas.microsoft.com/office/drawing/2014/main" id="{27F75B8D-6D75-0AAE-29E1-CC8C5311F01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7" name="Logo_SpareBank1_Hallingdal_Valdres_hvit" descr="Et bilde som inneholder tekst, Font, Grafikk, logo&#10;&#10;Automatisk generert beskrivelse" hidden="1">
            <a:extLst>
              <a:ext uri="{FF2B5EF4-FFF2-40B4-BE49-F238E27FC236}">
                <a16:creationId xmlns:a16="http://schemas.microsoft.com/office/drawing/2014/main" id="{068CC6F1-6D69-A85B-4F11-01BEB14D8B17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17" name="Logo_SpareBank1_Helg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C5B6B60-05C3-4790-9BE2-468FBEC579C0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8" name="Logo_SpareBank1_Helg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D71C81C-49B7-4263-BF6E-8174CC880EC0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9" name="Logo_SpareBank1_Lom_og_Skjaak_blaa" hidden="1">
            <a:extLst>
              <a:ext uri="{FF2B5EF4-FFF2-40B4-BE49-F238E27FC236}">
                <a16:creationId xmlns:a16="http://schemas.microsoft.com/office/drawing/2014/main" id="{35FF033A-4390-43B3-B8A8-AC195AE221A3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0" name="Logo_SpareBank1_Lom_og_Skjaak_hvit" hidden="1">
            <a:extLst>
              <a:ext uri="{FF2B5EF4-FFF2-40B4-BE49-F238E27FC236}">
                <a16:creationId xmlns:a16="http://schemas.microsoft.com/office/drawing/2014/main" id="{CBC18373-AB34-4DCC-98F4-7CAAD4D7E90A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56" name="Logo_SpareBank1_Market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4D8C26-175A-4172-92A2-9D1E73A60A27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57" name="Logo_SpareBank1_Markets_blaa" hidden="1">
            <a:extLst>
              <a:ext uri="{FF2B5EF4-FFF2-40B4-BE49-F238E27FC236}">
                <a16:creationId xmlns:a16="http://schemas.microsoft.com/office/drawing/2014/main" id="{6C6544F4-B749-4A47-9088-26C15C03DA3F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21" name="Logo_SpareBank1_Modum_blaa" hidden="1">
            <a:extLst>
              <a:ext uri="{FF2B5EF4-FFF2-40B4-BE49-F238E27FC236}">
                <a16:creationId xmlns:a16="http://schemas.microsoft.com/office/drawing/2014/main" id="{2BB456BD-D714-4320-9FD6-D7AD08FAAA18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2" name="Logo_SpareBank1_Modum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7A283A-E9F0-4566-A3E0-8F0620EA765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3" name="Logo_SpareBank1_Nord-Norge_blaa" hidden="1">
            <a:extLst>
              <a:ext uri="{FF2B5EF4-FFF2-40B4-BE49-F238E27FC236}">
                <a16:creationId xmlns:a16="http://schemas.microsoft.com/office/drawing/2014/main" id="{43101046-2EBF-4947-A6EB-C233820190C4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4" name="Logo_SpareBank1_Nord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19CE5EB4-30DC-4B90-A86D-39C358D12350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3" name="Logo_SpareBank1_Nord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81907AB8-BA84-45CC-8D3B-49BE2C96D615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4" name="Logo_SpareBank1_Nordmøre_blaa" hidden="1">
            <a:extLst>
              <a:ext uri="{FF2B5EF4-FFF2-40B4-BE49-F238E27FC236}">
                <a16:creationId xmlns:a16="http://schemas.microsoft.com/office/drawing/2014/main" id="{450BB9C8-39CA-4C74-A7B9-E5DFA114E314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52" name="Logo_SpareBank1_Regnskapshus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64664DE2-B7F1-4F09-8F8F-49FA5E240A8F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54" name="Logo_SpareBank1_Regnskapshus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F0EA445F-A2B1-4FB0-B81B-2A87CBF18084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27" name="Logo_SpareBank1_Ringerike_Had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4E9C587-69DB-47CF-91A0-25BB068F5902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8" name="Logo_SpareBank1_Ringerike_Had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E66D82E-E542-474E-80B4-974766CF869D}"/>
              </a:ext>
            </a:extLst>
          </p:cNvPr>
          <p:cNvPicPr>
            <a:picLocks noChangeAspect="1"/>
          </p:cNvPicPr>
          <p:nvPr userDrawn="1"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53" name="Logo_SpareBank1_SamSpar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B79E6DA-CD6C-4D54-90FE-4C8597BD6958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5" name="Logo_SpareBank1_SamSpar_blaa" hidden="1">
            <a:extLst>
              <a:ext uri="{FF2B5EF4-FFF2-40B4-BE49-F238E27FC236}">
                <a16:creationId xmlns:a16="http://schemas.microsoft.com/office/drawing/2014/main" id="{244336BA-B162-4D7A-9AE5-117FCBDC4277}"/>
              </a:ext>
            </a:extLst>
          </p:cNvPr>
          <p:cNvPicPr>
            <a:picLocks noChangeAspect="1"/>
          </p:cNvPicPr>
          <p:nvPr userDrawn="1"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29" name="Logo_SpareBank1_SMN_blaa" hidden="1">
            <a:extLst>
              <a:ext uri="{FF2B5EF4-FFF2-40B4-BE49-F238E27FC236}">
                <a16:creationId xmlns:a16="http://schemas.microsoft.com/office/drawing/2014/main" id="{10B56460-52F0-4BA9-81C3-AC3FC01D16AB}"/>
              </a:ext>
            </a:extLst>
          </p:cNvPr>
          <p:cNvPicPr>
            <a:picLocks noChangeAspect="1"/>
          </p:cNvPicPr>
          <p:nvPr userDrawn="1"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0" name="Logo_SpareBank1_SMN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A6BA4FD-86B8-4A25-A7A7-6A94E8E62B42}"/>
              </a:ext>
            </a:extLst>
          </p:cNvPr>
          <p:cNvPicPr>
            <a:picLocks noChangeAspect="1"/>
          </p:cNvPicPr>
          <p:nvPr userDrawn="1"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5" name="Logo_SpareBank1_Sogn_og_Fjordane_hvit" descr="Et bilde som inneholder tekst, Font, Grafikk, logo&#10;&#10;Automatisk generert beskrivelse" hidden="1">
            <a:extLst>
              <a:ext uri="{FF2B5EF4-FFF2-40B4-BE49-F238E27FC236}">
                <a16:creationId xmlns:a16="http://schemas.microsoft.com/office/drawing/2014/main" id="{4A68584D-4A00-9387-9C11-04BD62241A82}"/>
              </a:ext>
            </a:extLst>
          </p:cNvPr>
          <p:cNvPicPr>
            <a:picLocks noChangeAspect="1"/>
          </p:cNvPicPr>
          <p:nvPr userDrawn="1"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0" name="Logo_SpareBank1_Sogn_og_Fjordane_blaa" descr="Et bilde som inneholder Font, tekst, Grafikk, logo&#10;&#10;Automatisk generert beskrivelse" hidden="1">
            <a:extLst>
              <a:ext uri="{FF2B5EF4-FFF2-40B4-BE49-F238E27FC236}">
                <a16:creationId xmlns:a16="http://schemas.microsoft.com/office/drawing/2014/main" id="{10381E7A-6DB9-2EAA-36E9-7E47C3C7ED9D}"/>
              </a:ext>
            </a:extLst>
          </p:cNvPr>
          <p:cNvPicPr>
            <a:picLocks noChangeAspect="1"/>
          </p:cNvPicPr>
          <p:nvPr userDrawn="1"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31" name="Logo_SpareBank1_SR-Bank_blaa" hidden="1">
            <a:extLst>
              <a:ext uri="{FF2B5EF4-FFF2-40B4-BE49-F238E27FC236}">
                <a16:creationId xmlns:a16="http://schemas.microsoft.com/office/drawing/2014/main" id="{71D6B0B7-324F-4237-9E44-DFEC9DCB8EA2}"/>
              </a:ext>
            </a:extLst>
          </p:cNvPr>
          <p:cNvPicPr>
            <a:picLocks noChangeAspect="1"/>
          </p:cNvPicPr>
          <p:nvPr userDrawn="1"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2" name="Logo_SpareBank1_SR-Ban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350D87F-F50A-41F8-B2F1-7B0487EE5A88}"/>
              </a:ext>
            </a:extLst>
          </p:cNvPr>
          <p:cNvPicPr>
            <a:picLocks noChangeAspect="1"/>
          </p:cNvPicPr>
          <p:nvPr userDrawn="1"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3" name="Logo_SpareBank1_Søre_Sunnmøre_blaa" hidden="1">
            <a:extLst>
              <a:ext uri="{FF2B5EF4-FFF2-40B4-BE49-F238E27FC236}">
                <a16:creationId xmlns:a16="http://schemas.microsoft.com/office/drawing/2014/main" id="{144379FE-2380-48A2-97E8-A0FB04AF94FD}"/>
              </a:ext>
            </a:extLst>
          </p:cNvPr>
          <p:cNvPicPr>
            <a:picLocks noChangeAspect="1"/>
          </p:cNvPicPr>
          <p:nvPr userDrawn="1"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4" name="Logo_SpareBank1_Søre_Sunn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CC72A1B-F55A-432C-931E-CF9326068516}"/>
              </a:ext>
            </a:extLst>
          </p:cNvPr>
          <p:cNvPicPr>
            <a:picLocks noChangeAspect="1"/>
          </p:cNvPicPr>
          <p:nvPr userDrawn="1"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5" name="Logo_SpareBank1_Sørøst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5F2A5E6-C54F-4ED7-B293-C96F59F99C56}"/>
              </a:ext>
            </a:extLst>
          </p:cNvPr>
          <p:cNvPicPr>
            <a:picLocks noChangeAspect="1"/>
          </p:cNvPicPr>
          <p:nvPr userDrawn="1"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1" name="Logo_SpareBank1_Sørøst-Norge_blaa" hidden="1">
            <a:extLst>
              <a:ext uri="{FF2B5EF4-FFF2-40B4-BE49-F238E27FC236}">
                <a16:creationId xmlns:a16="http://schemas.microsoft.com/office/drawing/2014/main" id="{9F247EDB-7F55-4751-909A-2C3B8B7053AE}"/>
              </a:ext>
            </a:extLst>
          </p:cNvPr>
          <p:cNvPicPr>
            <a:picLocks noChangeAspect="1"/>
          </p:cNvPicPr>
          <p:nvPr userDrawn="1"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35" name="Logo_SpareBank1_Telemark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7DA024E-9A38-4E86-9D1D-5203A16C3871}"/>
              </a:ext>
            </a:extLst>
          </p:cNvPr>
          <p:cNvPicPr>
            <a:picLocks noChangeAspect="1"/>
          </p:cNvPicPr>
          <p:nvPr userDrawn="1"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6" name="Logo_SpareBank1_Telemar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C2F89C1B-E846-49C4-9A74-8A50DEF0089C}"/>
              </a:ext>
            </a:extLst>
          </p:cNvPr>
          <p:cNvPicPr>
            <a:picLocks noChangeAspect="1"/>
          </p:cNvPicPr>
          <p:nvPr userDrawn="1"/>
        </p:nvPicPr>
        <p:blipFill>
          <a:blip r:embed="rId10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7" name="Logo_SpareBank1_Østfold_Akershu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28CB051C-CCF4-48CA-B170-DFEBE327A97B}"/>
              </a:ext>
            </a:extLst>
          </p:cNvPr>
          <p:cNvPicPr>
            <a:picLocks noChangeAspect="1"/>
          </p:cNvPicPr>
          <p:nvPr userDrawn="1"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8" name="Logo_SpareBank1_Østfold_Akershu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2B20B2-EEB3-4CB5-9343-EBF2A3ABEC38}"/>
              </a:ext>
            </a:extLst>
          </p:cNvPr>
          <p:cNvPicPr>
            <a:picLocks noChangeAspect="1"/>
          </p:cNvPicPr>
          <p:nvPr userDrawn="1"/>
        </p:nvPicPr>
        <p:blipFill>
          <a:blip r:embed="rId10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48" name="Logo_SpareBank1_Østland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E927BB58-AF04-4D48-9C20-378D9B7A49BC}"/>
              </a:ext>
            </a:extLst>
          </p:cNvPr>
          <p:cNvPicPr>
            <a:picLocks noChangeAspect="1"/>
          </p:cNvPicPr>
          <p:nvPr userDrawn="1"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  <p:pic>
        <p:nvPicPr>
          <p:cNvPr id="39" name="Logo_SpareBank1_Østland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84A37E-35CA-403D-ABDF-9F75F8E49A16}"/>
              </a:ext>
            </a:extLst>
          </p:cNvPr>
          <p:cNvPicPr>
            <a:picLocks noChangeAspect="1"/>
          </p:cNvPicPr>
          <p:nvPr userDrawn="1"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338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98" r:id="rId12"/>
    <p:sldLayoutId id="2147483699" r:id="rId13"/>
    <p:sldLayoutId id="2147483700" r:id="rId14"/>
    <p:sldLayoutId id="2147483702" r:id="rId15"/>
    <p:sldLayoutId id="2147483703" r:id="rId16"/>
    <p:sldLayoutId id="2147483704" r:id="rId17"/>
    <p:sldLayoutId id="2147483659" r:id="rId18"/>
    <p:sldLayoutId id="2147483660" r:id="rId19"/>
    <p:sldLayoutId id="2147483661" r:id="rId20"/>
    <p:sldLayoutId id="2147483697" r:id="rId21"/>
    <p:sldLayoutId id="2147483662" r:id="rId22"/>
    <p:sldLayoutId id="2147483663" r:id="rId23"/>
    <p:sldLayoutId id="2147483664" r:id="rId24"/>
    <p:sldLayoutId id="2147483665" r:id="rId25"/>
    <p:sldLayoutId id="2147483666" r:id="rId26"/>
    <p:sldLayoutId id="2147483667" r:id="rId27"/>
    <p:sldLayoutId id="2147483668" r:id="rId28"/>
    <p:sldLayoutId id="2147483669" r:id="rId29"/>
    <p:sldLayoutId id="2147483670" r:id="rId30"/>
    <p:sldLayoutId id="2147483671" r:id="rId31"/>
    <p:sldLayoutId id="2147483675" r:id="rId32"/>
    <p:sldLayoutId id="2147483676" r:id="rId33"/>
    <p:sldLayoutId id="2147483677" r:id="rId34"/>
    <p:sldLayoutId id="2147483678" r:id="rId35"/>
    <p:sldLayoutId id="2147483679" r:id="rId36"/>
    <p:sldLayoutId id="2147483680" r:id="rId37"/>
    <p:sldLayoutId id="2147483681" r:id="rId38"/>
    <p:sldLayoutId id="2147483682" r:id="rId39"/>
    <p:sldLayoutId id="2147483683" r:id="rId40"/>
    <p:sldLayoutId id="2147483684" r:id="rId41"/>
    <p:sldLayoutId id="2147483685" r:id="rId42"/>
    <p:sldLayoutId id="2147483691" r:id="rId43"/>
    <p:sldLayoutId id="2147483694" r:id="rId44"/>
    <p:sldLayoutId id="2147483692" r:id="rId45"/>
    <p:sldLayoutId id="2147483695" r:id="rId46"/>
    <p:sldLayoutId id="2147483686" r:id="rId47"/>
    <p:sldLayoutId id="2147483687" r:id="rId48"/>
    <p:sldLayoutId id="2147483688" r:id="rId49"/>
    <p:sldLayoutId id="2147483689" r:id="rId50"/>
    <p:sldLayoutId id="2147483705" r:id="rId51"/>
    <p:sldLayoutId id="2147483690" r:id="rId52"/>
    <p:sldLayoutId id="2147483696" r:id="rId53"/>
    <p:sldLayoutId id="2147483707" r:id="rId54"/>
    <p:sldLayoutId id="2147483708" r:id="rId55"/>
    <p:sldLayoutId id="2147483709" r:id="rId56"/>
    <p:sldLayoutId id="2147483710" r:id="rId57"/>
    <p:sldLayoutId id="2147483711" r:id="rId5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207D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rgbClr val="00207D"/>
          </a:solidFill>
          <a:latin typeface="+mn-lt"/>
          <a:ea typeface="+mn-ea"/>
          <a:cs typeface="+mn-cs"/>
        </a:defRPr>
      </a:lvl1pPr>
      <a:lvl2pPr marL="7452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00207D"/>
          </a:solidFill>
          <a:latin typeface="+mn-lt"/>
          <a:ea typeface="+mn-ea"/>
          <a:cs typeface="+mn-cs"/>
        </a:defRPr>
      </a:lvl3pPr>
      <a:lvl4pPr marL="163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4pPr>
      <a:lvl5pPr marL="20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>
            <a:extLst>
              <a:ext uri="{FF2B5EF4-FFF2-40B4-BE49-F238E27FC236}">
                <a16:creationId xmlns:a16="http://schemas.microsoft.com/office/drawing/2014/main" id="{B3D3F682-054F-4F49-ADBF-4A0B720023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190979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4" imgW="347" imgH="348" progId="TCLayout.ActiveDocument.1">
                  <p:embed/>
                </p:oleObj>
              </mc:Choice>
              <mc:Fallback>
                <p:oleObj name="think-cell Slide" r:id="rId54" imgW="347" imgH="348" progId="TCLayout.ActiveDocument.1">
                  <p:embed/>
                  <p:pic>
                    <p:nvPicPr>
                      <p:cNvPr id="44" name="Objekt 43" hidden="1">
                        <a:extLst>
                          <a:ext uri="{FF2B5EF4-FFF2-40B4-BE49-F238E27FC236}">
                            <a16:creationId xmlns:a16="http://schemas.microsoft.com/office/drawing/2014/main" id="{B3D3F682-054F-4F49-ADBF-4A0B720023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hidden="1">
            <a:extLst>
              <a:ext uri="{FF2B5EF4-FFF2-40B4-BE49-F238E27FC236}">
                <a16:creationId xmlns:a16="http://schemas.microsoft.com/office/drawing/2014/main" id="{12333E4B-DADC-438D-A77F-6F8FFB150D5F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2B0E46-2566-4F11-ABAD-D6C0B612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D29D8-B23F-46B7-8050-6AAB182CA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0600" y="2466340"/>
            <a:ext cx="10363200" cy="3685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B729C-D9B5-4BAD-A4AF-B9C9C53C7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800" y="6531818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36BEE-333E-40FE-81F8-7D7530135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013" y="653181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644A0-11AB-422F-BCF2-F71EDA119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704" y="6531818"/>
            <a:ext cx="47625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2B126447-041E-41AD-8F4D-D6CD89ABAD14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9" name="MainLogo" hidden="1">
            <a:extLst>
              <a:ext uri="{FF2B5EF4-FFF2-40B4-BE49-F238E27FC236}">
                <a16:creationId xmlns:a16="http://schemas.microsoft.com/office/drawing/2014/main" id="{0FEC348C-3024-48F7-BA1F-A8E85ED4717D}"/>
              </a:ext>
            </a:extLst>
          </p:cNvPr>
          <p:cNvPicPr>
            <a:picLocks noChangeAspect="1"/>
          </p:cNvPicPr>
          <p:nvPr userDrawn="1"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pic>
        <p:nvPicPr>
          <p:cNvPr id="10" name="SpareBank1_BV_blaa" hidden="1">
            <a:extLst>
              <a:ext uri="{FF2B5EF4-FFF2-40B4-BE49-F238E27FC236}">
                <a16:creationId xmlns:a16="http://schemas.microsoft.com/office/drawing/2014/main" id="{337BA596-8B64-402E-86E9-AD510C310981}"/>
              </a:ext>
            </a:extLst>
          </p:cNvPr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2" name="SpareBank1_BV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3AAF89-402C-4577-AF3F-CB1B14EE28D5}"/>
              </a:ext>
            </a:extLst>
          </p:cNvPr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3" name="SpareBank1_Gudbrandsdal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AFD5BAD2-74AE-4444-BCC4-51169384C913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4" name="SpareBank1_Gudbrandsdal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0BF8D02-10A3-4AC0-BEE6-3B5090834FD0}"/>
              </a:ext>
            </a:extLst>
          </p:cNvPr>
          <p:cNvPicPr>
            <a:picLocks noChangeAspect="1"/>
          </p:cNvPicPr>
          <p:nvPr userDrawn="1"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5" name="SpareBank1_Hallingdal_Valdre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E406213-2D3C-4FF9-B4F9-D6359A1A5E22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792" y="6246493"/>
            <a:ext cx="1996896" cy="396000"/>
          </a:xfrm>
          <a:prstGeom prst="rect">
            <a:avLst/>
          </a:prstGeom>
        </p:spPr>
      </p:pic>
      <p:pic>
        <p:nvPicPr>
          <p:cNvPr id="16" name="SpareBank1_Hallingdal_Valdre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93F8F0E-A8DB-4A2B-A166-5959BF70F90F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0792" y="6246493"/>
            <a:ext cx="1996896" cy="396000"/>
          </a:xfrm>
          <a:prstGeom prst="rect">
            <a:avLst/>
          </a:prstGeom>
        </p:spPr>
      </p:pic>
      <p:pic>
        <p:nvPicPr>
          <p:cNvPr id="17" name="SpareBank1_Helg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C5B6B60-05C3-4790-9BE2-468FBEC579C0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8" name="SpareBank1_Helg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D71C81C-49B7-4263-BF6E-8174CC880EC0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9" name="SpareBank1_Lom_og_Skjaak_blaa" hidden="1">
            <a:extLst>
              <a:ext uri="{FF2B5EF4-FFF2-40B4-BE49-F238E27FC236}">
                <a16:creationId xmlns:a16="http://schemas.microsoft.com/office/drawing/2014/main" id="{35FF033A-4390-43B3-B8A8-AC195AE221A3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0" name="SpareBank1_Lom_og_Skjaak_hvit" hidden="1">
            <a:extLst>
              <a:ext uri="{FF2B5EF4-FFF2-40B4-BE49-F238E27FC236}">
                <a16:creationId xmlns:a16="http://schemas.microsoft.com/office/drawing/2014/main" id="{CBC18373-AB34-4DCC-98F4-7CAAD4D7E90A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1" name="SpareBank1_Modum_blaa" hidden="1">
            <a:extLst>
              <a:ext uri="{FF2B5EF4-FFF2-40B4-BE49-F238E27FC236}">
                <a16:creationId xmlns:a16="http://schemas.microsoft.com/office/drawing/2014/main" id="{2BB456BD-D714-4320-9FD6-D7AD08FAAA18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2" name="SpareBank1_Modum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7A283A-E9F0-4566-A3E0-8F0620EA765D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3" name="SpareBank1_Nord-Norge_blaa" hidden="1">
            <a:extLst>
              <a:ext uri="{FF2B5EF4-FFF2-40B4-BE49-F238E27FC236}">
                <a16:creationId xmlns:a16="http://schemas.microsoft.com/office/drawing/2014/main" id="{43101046-2EBF-4947-A6EB-C233820190C4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4" name="SpareBank1_Nord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19CE5EB4-30DC-4B90-A86D-39C358D12350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5" name="SpareBank1_Nordves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2580651B-7AA8-4286-9065-63B39F7868CF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6" name="SpareBank1_Nordves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F0A5C74-5D15-4866-9E1C-BAA9D19E649D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7" name="SpareBank1_Ringerike_Had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4E9C587-69DB-47CF-91A0-25BB068F5902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8" name="SpareBank1_Ringerike_Had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E66D82E-E542-474E-80B4-974766CF869D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9" name="SpareBank1_SMN_blaa" hidden="1">
            <a:extLst>
              <a:ext uri="{FF2B5EF4-FFF2-40B4-BE49-F238E27FC236}">
                <a16:creationId xmlns:a16="http://schemas.microsoft.com/office/drawing/2014/main" id="{10B56460-52F0-4BA9-81C3-AC3FC01D16AB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0" name="SpareBank1_SMN_hvit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EA6BA4FD-86B8-4A25-A7A7-6A94E8E62B42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1" name="SpareBank1_SR-Bank_blaa" hidden="1">
            <a:extLst>
              <a:ext uri="{FF2B5EF4-FFF2-40B4-BE49-F238E27FC236}">
                <a16:creationId xmlns:a16="http://schemas.microsoft.com/office/drawing/2014/main" id="{71D6B0B7-324F-4237-9E44-DFEC9DCB8EA2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2" name="SpareBank1_SR-Ban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350D87F-F50A-41F8-B2F1-7B0487EE5A88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3" name="SpareBank1_Søre_Sunnmøre_blaa" hidden="1">
            <a:extLst>
              <a:ext uri="{FF2B5EF4-FFF2-40B4-BE49-F238E27FC236}">
                <a16:creationId xmlns:a16="http://schemas.microsoft.com/office/drawing/2014/main" id="{144379FE-2380-48A2-97E8-A0FB04AF94FD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4" name="SpareBank1_Søre_Sunn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CC72A1B-F55A-432C-931E-CF9326068516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5" name="SpareBank1_Telemark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7DA024E-9A38-4E86-9D1D-5203A16C3871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6" name="SpareBank1_Telemar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C2F89C1B-E846-49C4-9A74-8A50DEF0089C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7" name="SpareBank1_Østfold_Akershu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28CB051C-CCF4-48CA-B170-DFEBE327A97B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8" name="SpareBank1_Østfold_Akershu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2B20B2-EEB3-4CB5-9343-EBF2A3ABEC38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9" name="SpareBank1_Østlandet_blaa" descr="Et bilde som inneholder tekst, servise&#10;&#10;Automatisk generert beskrivelse" hidden="1">
            <a:extLst>
              <a:ext uri="{FF2B5EF4-FFF2-40B4-BE49-F238E27FC236}">
                <a16:creationId xmlns:a16="http://schemas.microsoft.com/office/drawing/2014/main" id="{F6BB7452-ADE1-4E1C-9246-86E795C1D884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0" name="SpareBank1_Østland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AAC948-7948-44CC-9AD2-13C10DEFD3EA}"/>
              </a:ext>
            </a:extLst>
          </p:cNvPr>
          <p:cNvPicPr>
            <a:picLocks noChangeAspect="1"/>
          </p:cNvPicPr>
          <p:nvPr userDrawn="1"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1" name="SpareBank1_blaa" hidden="1">
            <a:extLst>
              <a:ext uri="{FF2B5EF4-FFF2-40B4-BE49-F238E27FC236}">
                <a16:creationId xmlns:a16="http://schemas.microsoft.com/office/drawing/2014/main" id="{26889095-5A5D-49DD-A0A5-9AB7450D2561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2828" cy="396000"/>
          </a:xfrm>
          <a:prstGeom prst="rect">
            <a:avLst/>
          </a:prstGeom>
        </p:spPr>
      </p:pic>
      <p:pic>
        <p:nvPicPr>
          <p:cNvPr id="42" name="SpareBank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281BB2C-43DF-46B5-BFA5-6F4A7CA09A87}"/>
              </a:ext>
            </a:extLst>
          </p:cNvPr>
          <p:cNvPicPr>
            <a:picLocks noChangeAspect="1"/>
          </p:cNvPicPr>
          <p:nvPr userDrawn="1"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2828" cy="396000"/>
          </a:xfrm>
          <a:prstGeom prst="rect">
            <a:avLst/>
          </a:prstGeom>
        </p:spPr>
      </p:pic>
      <p:sp>
        <p:nvSpPr>
          <p:cNvPr id="7" name="MSIPCMContentMarking" descr="{&quot;HashCode&quot;:-1100104204,&quot;Placement&quot;:&quot;Footer&quot;,&quot;Top&quot;:516.65155,&quot;Left&quot;:0.0,&quot;SlideWidth&quot;:960,&quot;SlideHeight&quot;:540}">
            <a:extLst>
              <a:ext uri="{FF2B5EF4-FFF2-40B4-BE49-F238E27FC236}">
                <a16:creationId xmlns:a16="http://schemas.microsoft.com/office/drawing/2014/main" id="{AD33EA96-8C5E-4901-B6AF-97BA9FE2D82C}"/>
              </a:ext>
            </a:extLst>
          </p:cNvPr>
          <p:cNvSpPr txBox="1"/>
          <p:nvPr userDrawn="1"/>
        </p:nvSpPr>
        <p:spPr>
          <a:xfrm>
            <a:off x="0" y="6561475"/>
            <a:ext cx="1310094" cy="29652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200">
                <a:solidFill>
                  <a:srgbClr val="AF6400"/>
                </a:solidFill>
                <a:latin typeface="Calibri" panose="020F0502020204030204" pitchFamily="34" charset="0"/>
              </a:rPr>
              <a:t>F O R T R O L I G</a:t>
            </a:r>
            <a:endParaRPr lang="nb-NO" sz="1200">
              <a:solidFill>
                <a:srgbClr val="AF64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351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  <p:sldLayoutId id="2147483743" r:id="rId27"/>
    <p:sldLayoutId id="2147483744" r:id="rId28"/>
    <p:sldLayoutId id="2147483745" r:id="rId29"/>
    <p:sldLayoutId id="2147483746" r:id="rId30"/>
    <p:sldLayoutId id="2147483747" r:id="rId31"/>
    <p:sldLayoutId id="2147483748" r:id="rId32"/>
    <p:sldLayoutId id="2147483749" r:id="rId33"/>
    <p:sldLayoutId id="2147483750" r:id="rId34"/>
    <p:sldLayoutId id="2147483751" r:id="rId35"/>
    <p:sldLayoutId id="2147483752" r:id="rId36"/>
    <p:sldLayoutId id="2147483753" r:id="rId37"/>
    <p:sldLayoutId id="2147483754" r:id="rId38"/>
    <p:sldLayoutId id="2147483755" r:id="rId39"/>
    <p:sldLayoutId id="2147483756" r:id="rId40"/>
    <p:sldLayoutId id="2147483757" r:id="rId41"/>
    <p:sldLayoutId id="2147483758" r:id="rId42"/>
    <p:sldLayoutId id="2147483759" r:id="rId43"/>
    <p:sldLayoutId id="2147483760" r:id="rId44"/>
    <p:sldLayoutId id="2147483761" r:id="rId45"/>
    <p:sldLayoutId id="2147483762" r:id="rId46"/>
    <p:sldLayoutId id="2147483763" r:id="rId47"/>
    <p:sldLayoutId id="2147483764" r:id="rId48"/>
    <p:sldLayoutId id="2147483765" r:id="rId49"/>
    <p:sldLayoutId id="2147483766" r:id="rId50"/>
    <p:sldLayoutId id="2147483886" r:id="rId5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7452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63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DAD05F54-A1FE-75E4-20B5-781342C02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1832313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360" imgH="360" progId="TCLayout.ActiveDocument.1">
                  <p:embed/>
                </p:oleObj>
              </mc:Choice>
              <mc:Fallback>
                <p:oleObj name="think-cell Slide" r:id="rId62" imgW="360" imgH="360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DAD05F54-A1FE-75E4-20B5-781342C02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hidden="1">
            <a:extLst>
              <a:ext uri="{FF2B5EF4-FFF2-40B4-BE49-F238E27FC236}">
                <a16:creationId xmlns:a16="http://schemas.microsoft.com/office/drawing/2014/main" id="{12333E4B-DADC-438D-A77F-6F8FFB150D5F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2B0E46-2566-4F11-ABAD-D6C0B612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D29D8-B23F-46B7-8050-6AAB182CA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0600" y="2466340"/>
            <a:ext cx="10363200" cy="3685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B729C-D9B5-4BAD-A4AF-B9C9C53C7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800" y="6531818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36BEE-333E-40FE-81F8-7D7530135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013" y="653181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644A0-11AB-422F-BCF2-F71EDA119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704" y="6531818"/>
            <a:ext cx="47625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2B126447-041E-41AD-8F4D-D6CD89ABAD14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9" name="MainLogo" hidden="1">
            <a:extLst>
              <a:ext uri="{FF2B5EF4-FFF2-40B4-BE49-F238E27FC236}">
                <a16:creationId xmlns:a16="http://schemas.microsoft.com/office/drawing/2014/main" id="{0FEC348C-3024-48F7-BA1F-A8E85ED4717D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pic>
        <p:nvPicPr>
          <p:cNvPr id="41" name="Logo_SpareBank1_blaa" hidden="1">
            <a:extLst>
              <a:ext uri="{FF2B5EF4-FFF2-40B4-BE49-F238E27FC236}">
                <a16:creationId xmlns:a16="http://schemas.microsoft.com/office/drawing/2014/main" id="{26889095-5A5D-49DD-A0A5-9AB7450D2561}"/>
              </a:ext>
            </a:extLst>
          </p:cNvPr>
          <p:cNvPicPr>
            <a:picLocks noChangeAspect="1"/>
          </p:cNvPicPr>
          <p:nvPr userDrawn="1"/>
        </p:nvPicPr>
        <p:blipFill>
          <a:blip r:embed="rId6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4860" y="6246493"/>
            <a:ext cx="1792828" cy="396000"/>
          </a:xfrm>
          <a:prstGeom prst="rect">
            <a:avLst/>
          </a:prstGeom>
        </p:spPr>
      </p:pic>
      <p:pic>
        <p:nvPicPr>
          <p:cNvPr id="42" name="Logo_SpareBank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281BB2C-43DF-46B5-BFA5-6F4A7CA09A87}"/>
              </a:ext>
            </a:extLst>
          </p:cNvPr>
          <p:cNvPicPr>
            <a:picLocks noChangeAspect="1"/>
          </p:cNvPicPr>
          <p:nvPr userDrawn="1"/>
        </p:nvPicPr>
        <p:blipFill>
          <a:blip r:embed="rId6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4860" y="6246493"/>
            <a:ext cx="1792828" cy="396000"/>
          </a:xfrm>
          <a:prstGeom prst="rect">
            <a:avLst/>
          </a:prstGeom>
        </p:spPr>
      </p:pic>
      <p:pic>
        <p:nvPicPr>
          <p:cNvPr id="10" name="Logo_SpareBank1_BV_blaa" hidden="1">
            <a:extLst>
              <a:ext uri="{FF2B5EF4-FFF2-40B4-BE49-F238E27FC236}">
                <a16:creationId xmlns:a16="http://schemas.microsoft.com/office/drawing/2014/main" id="{337BA596-8B64-402E-86E9-AD510C310981}"/>
              </a:ext>
            </a:extLst>
          </p:cNvPr>
          <p:cNvPicPr>
            <a:picLocks noChangeAspect="1"/>
          </p:cNvPicPr>
          <p:nvPr userDrawn="1"/>
        </p:nvPicPr>
        <p:blipFill>
          <a:blip r:embed="rId6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2" name="Logo_SpareBank1_BV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3AAF89-402C-4577-AF3F-CB1B14EE28D5}"/>
              </a:ext>
            </a:extLst>
          </p:cNvPr>
          <p:cNvPicPr>
            <a:picLocks noChangeAspect="1"/>
          </p:cNvPicPr>
          <p:nvPr userDrawn="1"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3" name="Logo_SpareBank1_Gudbrandsdal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AFD5BAD2-74AE-4444-BCC4-51169384C913}"/>
              </a:ext>
            </a:extLst>
          </p:cNvPr>
          <p:cNvPicPr>
            <a:picLocks noChangeAspect="1"/>
          </p:cNvPicPr>
          <p:nvPr userDrawn="1"/>
        </p:nvPicPr>
        <p:blipFill>
          <a:blip r:embed="rId7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4" name="Logo_SpareBank1_Gudbrandsdal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0BF8D02-10A3-4AC0-BEE6-3B5090834FD0}"/>
              </a:ext>
            </a:extLst>
          </p:cNvPr>
          <p:cNvPicPr>
            <a:picLocks noChangeAspect="1"/>
          </p:cNvPicPr>
          <p:nvPr userDrawn="1"/>
        </p:nvPicPr>
        <p:blipFill>
          <a:blip r:embed="rId7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5" name="Logo_SpareBank1_Hallingdal_Valdre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E406213-2D3C-4FF9-B4F9-D6359A1A5E22}"/>
              </a:ext>
            </a:extLst>
          </p:cNvPr>
          <p:cNvPicPr>
            <a:picLocks noChangeAspect="1"/>
          </p:cNvPicPr>
          <p:nvPr userDrawn="1"/>
        </p:nvPicPr>
        <p:blipFill>
          <a:blip r:embed="rId7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0792" y="6246493"/>
            <a:ext cx="1996896" cy="396000"/>
          </a:xfrm>
          <a:prstGeom prst="rect">
            <a:avLst/>
          </a:prstGeom>
        </p:spPr>
      </p:pic>
      <p:pic>
        <p:nvPicPr>
          <p:cNvPr id="16" name="Logo_SpareBank1_Hallingdal_Valdre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93F8F0E-A8DB-4A2B-A166-5959BF70F90F}"/>
              </a:ext>
            </a:extLst>
          </p:cNvPr>
          <p:cNvPicPr>
            <a:picLocks noChangeAspect="1"/>
          </p:cNvPicPr>
          <p:nvPr userDrawn="1"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0792" y="6246493"/>
            <a:ext cx="1996896" cy="396000"/>
          </a:xfrm>
          <a:prstGeom prst="rect">
            <a:avLst/>
          </a:prstGeom>
        </p:spPr>
      </p:pic>
      <p:pic>
        <p:nvPicPr>
          <p:cNvPr id="17" name="Logo_SpareBank1_Helg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C5B6B60-05C3-4790-9BE2-468FBEC579C0}"/>
              </a:ext>
            </a:extLst>
          </p:cNvPr>
          <p:cNvPicPr>
            <a:picLocks noChangeAspect="1"/>
          </p:cNvPicPr>
          <p:nvPr userDrawn="1"/>
        </p:nvPicPr>
        <p:blipFill>
          <a:blip r:embed="rId7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8" name="Logo_SpareBank1_Helg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D71C81C-49B7-4263-BF6E-8174CC880EC0}"/>
              </a:ext>
            </a:extLst>
          </p:cNvPr>
          <p:cNvPicPr>
            <a:picLocks noChangeAspect="1"/>
          </p:cNvPicPr>
          <p:nvPr userDrawn="1"/>
        </p:nvPicPr>
        <p:blipFill>
          <a:blip r:embed="rId7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9" name="Logo_SpareBank1_Lom_og_Skjaak_blaa" hidden="1">
            <a:extLst>
              <a:ext uri="{FF2B5EF4-FFF2-40B4-BE49-F238E27FC236}">
                <a16:creationId xmlns:a16="http://schemas.microsoft.com/office/drawing/2014/main" id="{35FF033A-4390-43B3-B8A8-AC195AE221A3}"/>
              </a:ext>
            </a:extLst>
          </p:cNvPr>
          <p:cNvPicPr>
            <a:picLocks noChangeAspect="1"/>
          </p:cNvPicPr>
          <p:nvPr userDrawn="1"/>
        </p:nvPicPr>
        <p:blipFill>
          <a:blip r:embed="rId7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0" name="Logo_SpareBank1_Lom_og_Skjaak_hvit" hidden="1">
            <a:extLst>
              <a:ext uri="{FF2B5EF4-FFF2-40B4-BE49-F238E27FC236}">
                <a16:creationId xmlns:a16="http://schemas.microsoft.com/office/drawing/2014/main" id="{CBC18373-AB34-4DCC-98F4-7CAAD4D7E90A}"/>
              </a:ext>
            </a:extLst>
          </p:cNvPr>
          <p:cNvPicPr>
            <a:picLocks noChangeAspect="1"/>
          </p:cNvPicPr>
          <p:nvPr userDrawn="1"/>
        </p:nvPicPr>
        <p:blipFill>
          <a:blip r:embed="rId7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56" name="Logo_SpareBank1_Market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4D8C26-175A-4172-92A2-9D1E73A60A27}"/>
              </a:ext>
            </a:extLst>
          </p:cNvPr>
          <p:cNvPicPr>
            <a:picLocks noChangeAspect="1"/>
          </p:cNvPicPr>
          <p:nvPr userDrawn="1"/>
        </p:nvPicPr>
        <p:blipFill>
          <a:blip r:embed="rId7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57" name="Logo_SpareBank1_Markets_blaa" hidden="1">
            <a:extLst>
              <a:ext uri="{FF2B5EF4-FFF2-40B4-BE49-F238E27FC236}">
                <a16:creationId xmlns:a16="http://schemas.microsoft.com/office/drawing/2014/main" id="{6C6544F4-B749-4A47-9088-26C15C03DA3F}"/>
              </a:ext>
            </a:extLst>
          </p:cNvPr>
          <p:cNvPicPr>
            <a:picLocks noChangeAspect="1"/>
          </p:cNvPicPr>
          <p:nvPr userDrawn="1"/>
        </p:nvPicPr>
        <p:blipFill>
          <a:blip r:embed="rId7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21" name="Logo_SpareBank1_Modum_blaa" hidden="1">
            <a:extLst>
              <a:ext uri="{FF2B5EF4-FFF2-40B4-BE49-F238E27FC236}">
                <a16:creationId xmlns:a16="http://schemas.microsoft.com/office/drawing/2014/main" id="{2BB456BD-D714-4320-9FD6-D7AD08FAAA18}"/>
              </a:ext>
            </a:extLst>
          </p:cNvPr>
          <p:cNvPicPr>
            <a:picLocks noChangeAspect="1"/>
          </p:cNvPicPr>
          <p:nvPr userDrawn="1"/>
        </p:nvPicPr>
        <p:blipFill>
          <a:blip r:embed="rId8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2" name="Logo_SpareBank1_Modum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7A283A-E9F0-4566-A3E0-8F0620EA765D}"/>
              </a:ext>
            </a:extLst>
          </p:cNvPr>
          <p:cNvPicPr>
            <a:picLocks noChangeAspect="1"/>
          </p:cNvPicPr>
          <p:nvPr userDrawn="1"/>
        </p:nvPicPr>
        <p:blipFill>
          <a:blip r:embed="rId8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3" name="Logo_SpareBank1_Nord-Norge_blaa" hidden="1">
            <a:extLst>
              <a:ext uri="{FF2B5EF4-FFF2-40B4-BE49-F238E27FC236}">
                <a16:creationId xmlns:a16="http://schemas.microsoft.com/office/drawing/2014/main" id="{43101046-2EBF-4947-A6EB-C233820190C4}"/>
              </a:ext>
            </a:extLst>
          </p:cNvPr>
          <p:cNvPicPr>
            <a:picLocks noChangeAspect="1"/>
          </p:cNvPicPr>
          <p:nvPr userDrawn="1"/>
        </p:nvPicPr>
        <p:blipFill>
          <a:blip r:embed="rId8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4" name="Logo_SpareBank1_Nord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19CE5EB4-30DC-4B90-A86D-39C358D12350}"/>
              </a:ext>
            </a:extLst>
          </p:cNvPr>
          <p:cNvPicPr>
            <a:picLocks noChangeAspect="1"/>
          </p:cNvPicPr>
          <p:nvPr userDrawn="1"/>
        </p:nvPicPr>
        <p:blipFill>
          <a:blip r:embed="rId8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3" name="Logo_SpareBank1_Nord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81907AB8-BA84-45CC-8D3B-49BE2C96D615}"/>
              </a:ext>
            </a:extLst>
          </p:cNvPr>
          <p:cNvPicPr>
            <a:picLocks noChangeAspect="1"/>
          </p:cNvPicPr>
          <p:nvPr userDrawn="1"/>
        </p:nvPicPr>
        <p:blipFill>
          <a:blip r:embed="rId8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4" name="Logo_SpareBank1_Nordmøre_blaa" hidden="1">
            <a:extLst>
              <a:ext uri="{FF2B5EF4-FFF2-40B4-BE49-F238E27FC236}">
                <a16:creationId xmlns:a16="http://schemas.microsoft.com/office/drawing/2014/main" id="{450BB9C8-39CA-4C74-A7B9-E5DFA114E314}"/>
              </a:ext>
            </a:extLst>
          </p:cNvPr>
          <p:cNvPicPr>
            <a:picLocks noChangeAspect="1"/>
          </p:cNvPicPr>
          <p:nvPr userDrawn="1"/>
        </p:nvPicPr>
        <p:blipFill>
          <a:blip r:embed="rId8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52" name="Logo_SpareBank1_Regnskapshus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64664DE2-B7F1-4F09-8F8F-49FA5E240A8F}"/>
              </a:ext>
            </a:extLst>
          </p:cNvPr>
          <p:cNvPicPr>
            <a:picLocks noChangeAspect="1"/>
          </p:cNvPicPr>
          <p:nvPr userDrawn="1"/>
        </p:nvPicPr>
        <p:blipFill>
          <a:blip r:embed="rId8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54" name="Logo_SpareBank1_Regnskapshus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F0EA445F-A2B1-4FB0-B81B-2A87CBF18084}"/>
              </a:ext>
            </a:extLst>
          </p:cNvPr>
          <p:cNvPicPr>
            <a:picLocks noChangeAspect="1"/>
          </p:cNvPicPr>
          <p:nvPr userDrawn="1"/>
        </p:nvPicPr>
        <p:blipFill>
          <a:blip r:embed="rId8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27" name="Logo_SpareBank1_Ringerike_Had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4E9C587-69DB-47CF-91A0-25BB068F5902}"/>
              </a:ext>
            </a:extLst>
          </p:cNvPr>
          <p:cNvPicPr>
            <a:picLocks noChangeAspect="1"/>
          </p:cNvPicPr>
          <p:nvPr userDrawn="1"/>
        </p:nvPicPr>
        <p:blipFill>
          <a:blip r:embed="rId8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8" name="Logo_SpareBank1_Ringerike_Had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E66D82E-E542-474E-80B4-974766CF869D}"/>
              </a:ext>
            </a:extLst>
          </p:cNvPr>
          <p:cNvPicPr>
            <a:picLocks noChangeAspect="1"/>
          </p:cNvPicPr>
          <p:nvPr userDrawn="1"/>
        </p:nvPicPr>
        <p:blipFill>
          <a:blip r:embed="rId8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53" name="Logo_SpareBank1_SamSpar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B79E6DA-CD6C-4D54-90FE-4C8597BD6958}"/>
              </a:ext>
            </a:extLst>
          </p:cNvPr>
          <p:cNvPicPr>
            <a:picLocks noChangeAspect="1"/>
          </p:cNvPicPr>
          <p:nvPr userDrawn="1"/>
        </p:nvPicPr>
        <p:blipFill>
          <a:blip r:embed="rId9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5" name="Logo_SpareBank1_SamSpar_blaa" hidden="1">
            <a:extLst>
              <a:ext uri="{FF2B5EF4-FFF2-40B4-BE49-F238E27FC236}">
                <a16:creationId xmlns:a16="http://schemas.microsoft.com/office/drawing/2014/main" id="{244336BA-B162-4D7A-9AE5-117FCBDC4277}"/>
              </a:ext>
            </a:extLst>
          </p:cNvPr>
          <p:cNvPicPr>
            <a:picLocks noChangeAspect="1"/>
          </p:cNvPicPr>
          <p:nvPr userDrawn="1"/>
        </p:nvPicPr>
        <p:blipFill>
          <a:blip r:embed="rId9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29" name="Logo_SpareBank1_SMN_blaa" hidden="1">
            <a:extLst>
              <a:ext uri="{FF2B5EF4-FFF2-40B4-BE49-F238E27FC236}">
                <a16:creationId xmlns:a16="http://schemas.microsoft.com/office/drawing/2014/main" id="{10B56460-52F0-4BA9-81C3-AC3FC01D16AB}"/>
              </a:ext>
            </a:extLst>
          </p:cNvPr>
          <p:cNvPicPr>
            <a:picLocks noChangeAspect="1"/>
          </p:cNvPicPr>
          <p:nvPr userDrawn="1"/>
        </p:nvPicPr>
        <p:blipFill>
          <a:blip r:embed="rId9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0" name="Logo_SpareBank1_SMN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A6BA4FD-86B8-4A25-A7A7-6A94E8E62B42}"/>
              </a:ext>
            </a:extLst>
          </p:cNvPr>
          <p:cNvPicPr>
            <a:picLocks noChangeAspect="1"/>
          </p:cNvPicPr>
          <p:nvPr userDrawn="1"/>
        </p:nvPicPr>
        <p:blipFill>
          <a:blip r:embed="rId9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1" name="Logo_SpareBank1_SR-Bank_blaa" hidden="1">
            <a:extLst>
              <a:ext uri="{FF2B5EF4-FFF2-40B4-BE49-F238E27FC236}">
                <a16:creationId xmlns:a16="http://schemas.microsoft.com/office/drawing/2014/main" id="{71D6B0B7-324F-4237-9E44-DFEC9DCB8EA2}"/>
              </a:ext>
            </a:extLst>
          </p:cNvPr>
          <p:cNvPicPr>
            <a:picLocks noChangeAspect="1"/>
          </p:cNvPicPr>
          <p:nvPr userDrawn="1"/>
        </p:nvPicPr>
        <p:blipFill>
          <a:blip r:embed="rId9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2" name="Logo_SpareBank1_SR-Ban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350D87F-F50A-41F8-B2F1-7B0487EE5A88}"/>
              </a:ext>
            </a:extLst>
          </p:cNvPr>
          <p:cNvPicPr>
            <a:picLocks noChangeAspect="1"/>
          </p:cNvPicPr>
          <p:nvPr userDrawn="1"/>
        </p:nvPicPr>
        <p:blipFill>
          <a:blip r:embed="rId9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3" name="Logo_SpareBank1_Søre_Sunnmøre_blaa" hidden="1">
            <a:extLst>
              <a:ext uri="{FF2B5EF4-FFF2-40B4-BE49-F238E27FC236}">
                <a16:creationId xmlns:a16="http://schemas.microsoft.com/office/drawing/2014/main" id="{144379FE-2380-48A2-97E8-A0FB04AF94FD}"/>
              </a:ext>
            </a:extLst>
          </p:cNvPr>
          <p:cNvPicPr>
            <a:picLocks noChangeAspect="1"/>
          </p:cNvPicPr>
          <p:nvPr userDrawn="1"/>
        </p:nvPicPr>
        <p:blipFill>
          <a:blip r:embed="rId9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4" name="Logo_SpareBank1_Søre_Sunn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CC72A1B-F55A-432C-931E-CF9326068516}"/>
              </a:ext>
            </a:extLst>
          </p:cNvPr>
          <p:cNvPicPr>
            <a:picLocks noChangeAspect="1"/>
          </p:cNvPicPr>
          <p:nvPr userDrawn="1"/>
        </p:nvPicPr>
        <p:blipFill>
          <a:blip r:embed="rId9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5" name="Logo_SpareBank1_Sørøst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5F2A5E6-C54F-4ED7-B293-C96F59F99C56}"/>
              </a:ext>
            </a:extLst>
          </p:cNvPr>
          <p:cNvPicPr>
            <a:picLocks noChangeAspect="1"/>
          </p:cNvPicPr>
          <p:nvPr userDrawn="1"/>
        </p:nvPicPr>
        <p:blipFill>
          <a:blip r:embed="rId9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1" name="Logo_SpareBank1_Sørøst-Norge_blaa" hidden="1">
            <a:extLst>
              <a:ext uri="{FF2B5EF4-FFF2-40B4-BE49-F238E27FC236}">
                <a16:creationId xmlns:a16="http://schemas.microsoft.com/office/drawing/2014/main" id="{9F247EDB-7F55-4751-909A-2C3B8B7053AE}"/>
              </a:ext>
            </a:extLst>
          </p:cNvPr>
          <p:cNvPicPr>
            <a:picLocks noChangeAspect="1"/>
          </p:cNvPicPr>
          <p:nvPr userDrawn="1"/>
        </p:nvPicPr>
        <p:blipFill>
          <a:blip r:embed="rId9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35" name="Logo_SpareBank1_Telemark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7DA024E-9A38-4E86-9D1D-5203A16C3871}"/>
              </a:ext>
            </a:extLst>
          </p:cNvPr>
          <p:cNvPicPr>
            <a:picLocks noChangeAspect="1"/>
          </p:cNvPicPr>
          <p:nvPr userDrawn="1"/>
        </p:nvPicPr>
        <p:blipFill>
          <a:blip r:embed="rId10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6" name="Logo_SpareBank1_Telemar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C2F89C1B-E846-49C4-9A74-8A50DEF0089C}"/>
              </a:ext>
            </a:extLst>
          </p:cNvPr>
          <p:cNvPicPr>
            <a:picLocks noChangeAspect="1"/>
          </p:cNvPicPr>
          <p:nvPr userDrawn="1"/>
        </p:nvPicPr>
        <p:blipFill>
          <a:blip r:embed="rId10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7" name="Logo_SpareBank1_Østfold_Akershu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28CB051C-CCF4-48CA-B170-DFEBE327A97B}"/>
              </a:ext>
            </a:extLst>
          </p:cNvPr>
          <p:cNvPicPr>
            <a:picLocks noChangeAspect="1"/>
          </p:cNvPicPr>
          <p:nvPr userDrawn="1"/>
        </p:nvPicPr>
        <p:blipFill>
          <a:blip r:embed="rId10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8" name="Logo_SpareBank1_Østfold_Akershu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2B20B2-EEB3-4CB5-9343-EBF2A3ABEC38}"/>
              </a:ext>
            </a:extLst>
          </p:cNvPr>
          <p:cNvPicPr>
            <a:picLocks noChangeAspect="1"/>
          </p:cNvPicPr>
          <p:nvPr userDrawn="1"/>
        </p:nvPicPr>
        <p:blipFill>
          <a:blip r:embed="rId10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48" name="Logo_SpareBank1_Østland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E927BB58-AF04-4D48-9C20-378D9B7A49BC}"/>
              </a:ext>
            </a:extLst>
          </p:cNvPr>
          <p:cNvPicPr>
            <a:picLocks noChangeAspect="1"/>
          </p:cNvPicPr>
          <p:nvPr userDrawn="1"/>
        </p:nvPicPr>
        <p:blipFill>
          <a:blip r:embed="rId10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  <p:pic>
        <p:nvPicPr>
          <p:cNvPr id="39" name="Logo_SpareBank1_Østland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84A37E-35CA-403D-ABDF-9F75F8E49A16}"/>
              </a:ext>
            </a:extLst>
          </p:cNvPr>
          <p:cNvPicPr>
            <a:picLocks noChangeAspect="1"/>
          </p:cNvPicPr>
          <p:nvPr userDrawn="1"/>
        </p:nvPicPr>
        <p:blipFill>
          <a:blip r:embed="rId10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  <p:pic>
        <p:nvPicPr>
          <p:cNvPr id="50" name="Logo_Eiendomsmegler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D90C3E49-B1DF-4F62-B02A-7F9B83B3DF85}"/>
              </a:ext>
            </a:extLst>
          </p:cNvPr>
          <p:cNvPicPr>
            <a:picLocks noChangeAspect="1"/>
          </p:cNvPicPr>
          <p:nvPr userDrawn="1"/>
        </p:nvPicPr>
        <p:blipFill>
          <a:blip r:embed="rId10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2152" y="6246493"/>
            <a:ext cx="2285536" cy="396000"/>
          </a:xfrm>
          <a:prstGeom prst="rect">
            <a:avLst/>
          </a:prstGeom>
        </p:spPr>
      </p:pic>
      <p:pic>
        <p:nvPicPr>
          <p:cNvPr id="58" name="Logo_Eiendomsmegler1_blaa" hidden="1">
            <a:extLst>
              <a:ext uri="{FF2B5EF4-FFF2-40B4-BE49-F238E27FC236}">
                <a16:creationId xmlns:a16="http://schemas.microsoft.com/office/drawing/2014/main" id="{0D6E1CDE-4D7E-41B2-BD34-83976C6A0C3E}"/>
              </a:ext>
            </a:extLst>
          </p:cNvPr>
          <p:cNvPicPr>
            <a:picLocks noChangeAspect="1"/>
          </p:cNvPicPr>
          <p:nvPr userDrawn="1"/>
        </p:nvPicPr>
        <p:blipFill>
          <a:blip r:embed="rId10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2152" y="6246493"/>
            <a:ext cx="2285536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894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783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  <p:sldLayoutId id="2147483790" r:id="rId23"/>
    <p:sldLayoutId id="2147483791" r:id="rId24"/>
    <p:sldLayoutId id="2147483792" r:id="rId25"/>
    <p:sldLayoutId id="2147483793" r:id="rId26"/>
    <p:sldLayoutId id="2147483794" r:id="rId27"/>
    <p:sldLayoutId id="2147483795" r:id="rId28"/>
    <p:sldLayoutId id="2147483796" r:id="rId29"/>
    <p:sldLayoutId id="2147483797" r:id="rId30"/>
    <p:sldLayoutId id="2147483798" r:id="rId31"/>
    <p:sldLayoutId id="2147483799" r:id="rId32"/>
    <p:sldLayoutId id="2147483800" r:id="rId33"/>
    <p:sldLayoutId id="2147483801" r:id="rId34"/>
    <p:sldLayoutId id="2147483802" r:id="rId35"/>
    <p:sldLayoutId id="2147483803" r:id="rId36"/>
    <p:sldLayoutId id="2147483804" r:id="rId37"/>
    <p:sldLayoutId id="2147483805" r:id="rId38"/>
    <p:sldLayoutId id="2147483806" r:id="rId39"/>
    <p:sldLayoutId id="2147483807" r:id="rId40"/>
    <p:sldLayoutId id="2147483808" r:id="rId41"/>
    <p:sldLayoutId id="2147483809" r:id="rId42"/>
    <p:sldLayoutId id="2147483810" r:id="rId43"/>
    <p:sldLayoutId id="2147483811" r:id="rId44"/>
    <p:sldLayoutId id="2147483812" r:id="rId45"/>
    <p:sldLayoutId id="2147483813" r:id="rId46"/>
    <p:sldLayoutId id="2147483814" r:id="rId47"/>
    <p:sldLayoutId id="2147483815" r:id="rId48"/>
    <p:sldLayoutId id="2147483816" r:id="rId49"/>
    <p:sldLayoutId id="2147483817" r:id="rId50"/>
    <p:sldLayoutId id="2147483818" r:id="rId51"/>
    <p:sldLayoutId id="2147483819" r:id="rId52"/>
    <p:sldLayoutId id="2147483820" r:id="rId53"/>
    <p:sldLayoutId id="2147483821" r:id="rId54"/>
    <p:sldLayoutId id="2147483822" r:id="rId55"/>
    <p:sldLayoutId id="2147483823" r:id="rId56"/>
    <p:sldLayoutId id="2147483824" r:id="rId57"/>
    <p:sldLayoutId id="2147483825" r:id="rId58"/>
    <p:sldLayoutId id="2147483826" r:id="rId5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207D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rgbClr val="00207D"/>
          </a:solidFill>
          <a:latin typeface="+mn-lt"/>
          <a:ea typeface="+mn-ea"/>
          <a:cs typeface="+mn-cs"/>
        </a:defRPr>
      </a:lvl1pPr>
      <a:lvl2pPr marL="7452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00207D"/>
          </a:solidFill>
          <a:latin typeface="+mn-lt"/>
          <a:ea typeface="+mn-ea"/>
          <a:cs typeface="+mn-cs"/>
        </a:defRPr>
      </a:lvl3pPr>
      <a:lvl4pPr marL="163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4pPr>
      <a:lvl5pPr marL="20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 hidden="1">
            <a:extLst>
              <a:ext uri="{FF2B5EF4-FFF2-40B4-BE49-F238E27FC236}">
                <a16:creationId xmlns:a16="http://schemas.microsoft.com/office/drawing/2014/main" id="{12333E4B-DADC-438D-A77F-6F8FFB150D5F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2B0E46-2566-4F11-ABAD-D6C0B612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704" y="23415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D29D8-B23F-46B7-8050-6AAB182CA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0600" y="2466340"/>
            <a:ext cx="10363200" cy="36852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B729C-D9B5-4BAD-A4AF-B9C9C53C7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57800" y="6531818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rgbClr val="005AA4"/>
                </a:solidFill>
              </a:defRPr>
            </a:lvl1pPr>
          </a:lstStyle>
          <a:p>
            <a:fld id="{FEFC056B-C59F-4497-9C7A-409816C61A10}" type="datetimeFigureOut">
              <a:rPr lang="en-US" smtClean="0"/>
              <a:pPr/>
              <a:t>6/4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036BEE-333E-40FE-81F8-7D75301356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2013" y="6531818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F644A0-11AB-422F-BCF2-F71EDA1198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6704" y="6531818"/>
            <a:ext cx="47625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rgbClr val="005AA4"/>
                </a:solidFill>
              </a:defRPr>
            </a:lvl1pPr>
          </a:lstStyle>
          <a:p>
            <a:fld id="{E21350B7-B9C6-4D95-8DED-14AC556352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2B126447-041E-41AD-8F4D-D6CD89ABAD14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9" name="MainLogo" hidden="1">
            <a:extLst>
              <a:ext uri="{FF2B5EF4-FFF2-40B4-BE49-F238E27FC236}">
                <a16:creationId xmlns:a16="http://schemas.microsoft.com/office/drawing/2014/main" id="{0FEC348C-3024-48F7-BA1F-A8E85ED4717D}"/>
              </a:ext>
            </a:extLst>
          </p:cNvPr>
          <p:cNvPicPr>
            <a:picLocks noChangeAspect="1"/>
          </p:cNvPicPr>
          <p:nvPr userDrawn="1"/>
        </p:nvPicPr>
        <p:blipFill>
          <a:blip r:embed="rId60">
            <a:extLst>
              <a:ext uri="{96DAC541-7B7A-43D3-8B79-37D633B846F1}">
                <asvg:svgBlip xmlns:asvg="http://schemas.microsoft.com/office/drawing/2016/SVG/main" r:embed="rId61"/>
              </a:ext>
            </a:extLst>
          </a:blip>
          <a:stretch>
            <a:fillRect/>
          </a:stretch>
        </p:blipFill>
        <p:spPr>
          <a:xfrm>
            <a:off x="10210800" y="6246493"/>
            <a:ext cx="1766888" cy="394054"/>
          </a:xfrm>
          <a:prstGeom prst="rect">
            <a:avLst/>
          </a:prstGeom>
        </p:spPr>
      </p:pic>
      <p:pic>
        <p:nvPicPr>
          <p:cNvPr id="41" name="Logo_SpareBank1_blaa" hidden="1">
            <a:extLst>
              <a:ext uri="{FF2B5EF4-FFF2-40B4-BE49-F238E27FC236}">
                <a16:creationId xmlns:a16="http://schemas.microsoft.com/office/drawing/2014/main" id="{26889095-5A5D-49DD-A0A5-9AB7450D2561}"/>
              </a:ext>
            </a:extLst>
          </p:cNvPr>
          <p:cNvPicPr>
            <a:picLocks noChangeAspect="1"/>
          </p:cNvPicPr>
          <p:nvPr userDrawn="1"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0700" cy="395530"/>
          </a:xfrm>
          <a:prstGeom prst="rect">
            <a:avLst/>
          </a:prstGeom>
        </p:spPr>
      </p:pic>
      <p:pic>
        <p:nvPicPr>
          <p:cNvPr id="42" name="Logo_SpareBank1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B281BB2C-43DF-46B5-BFA5-6F4A7CA09A87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860" y="6246493"/>
            <a:ext cx="1790700" cy="395530"/>
          </a:xfrm>
          <a:prstGeom prst="rect">
            <a:avLst/>
          </a:prstGeom>
        </p:spPr>
      </p:pic>
      <p:pic>
        <p:nvPicPr>
          <p:cNvPr id="10" name="Logo_SpareBank1_BV_blaa" hidden="1">
            <a:extLst>
              <a:ext uri="{FF2B5EF4-FFF2-40B4-BE49-F238E27FC236}">
                <a16:creationId xmlns:a16="http://schemas.microsoft.com/office/drawing/2014/main" id="{337BA596-8B64-402E-86E9-AD510C310981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2" name="Logo_SpareBank1_BV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8F3AAF89-402C-4577-AF3F-CB1B14EE28D5}"/>
              </a:ext>
            </a:extLst>
          </p:cNvPr>
          <p:cNvPicPr>
            <a:picLocks noChangeAspect="1"/>
          </p:cNvPicPr>
          <p:nvPr userDrawn="1"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7" name="Logo_Sparebank1_Finanshuset_SMN_hvit" descr="Et bilde som inneholder tekst, Font, Grafikk, skjermbilde&#10;&#10;Automatisk generert beskrivelse" hidden="1">
            <a:extLst>
              <a:ext uri="{FF2B5EF4-FFF2-40B4-BE49-F238E27FC236}">
                <a16:creationId xmlns:a16="http://schemas.microsoft.com/office/drawing/2014/main" id="{C00983B6-724E-8654-136C-10DA1B36EC19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193" y="6166026"/>
            <a:ext cx="2667000" cy="560754"/>
          </a:xfrm>
          <a:prstGeom prst="rect">
            <a:avLst/>
          </a:prstGeom>
        </p:spPr>
      </p:pic>
      <p:pic>
        <p:nvPicPr>
          <p:cNvPr id="26" name="Logo_Sparebank1_Finanshuset_SMN_blaa" descr="Et bilde som inneholder tekst, Font, skjermbilde, Grafikk&#10;&#10;Automatisk generert beskrivelse" hidden="1">
            <a:extLst>
              <a:ext uri="{FF2B5EF4-FFF2-40B4-BE49-F238E27FC236}">
                <a16:creationId xmlns:a16="http://schemas.microsoft.com/office/drawing/2014/main" id="{E5A439F3-A790-39A5-B921-2222260E11C9}"/>
              </a:ext>
            </a:extLst>
          </p:cNvPr>
          <p:cNvPicPr>
            <a:picLocks noChangeAspect="1"/>
          </p:cNvPicPr>
          <p:nvPr userDrawn="1"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193" y="6166026"/>
            <a:ext cx="2667000" cy="560754"/>
          </a:xfrm>
          <a:prstGeom prst="rect">
            <a:avLst/>
          </a:prstGeom>
        </p:spPr>
      </p:pic>
      <p:pic>
        <p:nvPicPr>
          <p:cNvPr id="13" name="Logo_SpareBank1_Gudbrandsdal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AFD5BAD2-74AE-4444-BCC4-51169384C913}"/>
              </a:ext>
            </a:extLst>
          </p:cNvPr>
          <p:cNvPicPr>
            <a:picLocks noChangeAspect="1"/>
          </p:cNvPicPr>
          <p:nvPr userDrawn="1"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4" name="Logo_SpareBank1_Gudbrandsdal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0BF8D02-10A3-4AC0-BEE6-3B5090834FD0}"/>
              </a:ext>
            </a:extLst>
          </p:cNvPr>
          <p:cNvPicPr>
            <a:picLocks noChangeAspect="1"/>
          </p:cNvPicPr>
          <p:nvPr userDrawn="1"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50" name="Logo_SpareBank1_Hallingdal_Valdres_blaa" descr="Et bilde som inneholder Font, Grafikk, tekst, logo&#10;&#10;Automatisk generert beskrivelse" hidden="1">
            <a:extLst>
              <a:ext uri="{FF2B5EF4-FFF2-40B4-BE49-F238E27FC236}">
                <a16:creationId xmlns:a16="http://schemas.microsoft.com/office/drawing/2014/main" id="{27F75B8D-6D75-0AAE-29E1-CC8C5311F016}"/>
              </a:ext>
            </a:extLst>
          </p:cNvPr>
          <p:cNvPicPr>
            <a:picLocks noChangeAspect="1"/>
          </p:cNvPicPr>
          <p:nvPr userDrawn="1"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7" name="Logo_SpareBank1_Hallingdal_Valdres_hvit" descr="Et bilde som inneholder tekst, Font, Grafikk, logo&#10;&#10;Automatisk generert beskrivelse" hidden="1">
            <a:extLst>
              <a:ext uri="{FF2B5EF4-FFF2-40B4-BE49-F238E27FC236}">
                <a16:creationId xmlns:a16="http://schemas.microsoft.com/office/drawing/2014/main" id="{068CC6F1-6D69-A85B-4F11-01BEB14D8B17}"/>
              </a:ext>
            </a:extLst>
          </p:cNvPr>
          <p:cNvPicPr>
            <a:picLocks noChangeAspect="1"/>
          </p:cNvPicPr>
          <p:nvPr userDrawn="1"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17" name="Logo_SpareBank1_Helg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C5B6B60-05C3-4790-9BE2-468FBEC579C0}"/>
              </a:ext>
            </a:extLst>
          </p:cNvPr>
          <p:cNvPicPr>
            <a:picLocks noChangeAspect="1"/>
          </p:cNvPicPr>
          <p:nvPr userDrawn="1"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8" name="Logo_SpareBank1_Helg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3D71C81C-49B7-4263-BF6E-8174CC880EC0}"/>
              </a:ext>
            </a:extLst>
          </p:cNvPr>
          <p:cNvPicPr>
            <a:picLocks noChangeAspect="1"/>
          </p:cNvPicPr>
          <p:nvPr userDrawn="1"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19" name="Logo_SpareBank1_Lom_og_Skjaak_blaa" hidden="1">
            <a:extLst>
              <a:ext uri="{FF2B5EF4-FFF2-40B4-BE49-F238E27FC236}">
                <a16:creationId xmlns:a16="http://schemas.microsoft.com/office/drawing/2014/main" id="{35FF033A-4390-43B3-B8A8-AC195AE221A3}"/>
              </a:ext>
            </a:extLst>
          </p:cNvPr>
          <p:cNvPicPr>
            <a:picLocks noChangeAspect="1"/>
          </p:cNvPicPr>
          <p:nvPr userDrawn="1"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20" name="Logo_SpareBank1_Lom_og_Skjaak_hvit" hidden="1">
            <a:extLst>
              <a:ext uri="{FF2B5EF4-FFF2-40B4-BE49-F238E27FC236}">
                <a16:creationId xmlns:a16="http://schemas.microsoft.com/office/drawing/2014/main" id="{CBC18373-AB34-4DCC-98F4-7CAAD4D7E90A}"/>
              </a:ext>
            </a:extLst>
          </p:cNvPr>
          <p:cNvPicPr>
            <a:picLocks noChangeAspect="1"/>
          </p:cNvPicPr>
          <p:nvPr userDrawn="1"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295" y="6246493"/>
            <a:ext cx="1730393" cy="396000"/>
          </a:xfrm>
          <a:prstGeom prst="rect">
            <a:avLst/>
          </a:prstGeom>
        </p:spPr>
      </p:pic>
      <p:pic>
        <p:nvPicPr>
          <p:cNvPr id="56" name="Logo_SpareBank1_Market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4D8C26-175A-4172-92A2-9D1E73A60A27}"/>
              </a:ext>
            </a:extLst>
          </p:cNvPr>
          <p:cNvPicPr>
            <a:picLocks noChangeAspect="1"/>
          </p:cNvPicPr>
          <p:nvPr userDrawn="1"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57" name="Logo_SpareBank1_Markets_blaa" hidden="1">
            <a:extLst>
              <a:ext uri="{FF2B5EF4-FFF2-40B4-BE49-F238E27FC236}">
                <a16:creationId xmlns:a16="http://schemas.microsoft.com/office/drawing/2014/main" id="{6C6544F4-B749-4A47-9088-26C15C03DA3F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738" y="6246493"/>
            <a:ext cx="1739950" cy="396000"/>
          </a:xfrm>
          <a:prstGeom prst="rect">
            <a:avLst/>
          </a:prstGeom>
        </p:spPr>
      </p:pic>
      <p:pic>
        <p:nvPicPr>
          <p:cNvPr id="21" name="Logo_SpareBank1_Modum_blaa" hidden="1">
            <a:extLst>
              <a:ext uri="{FF2B5EF4-FFF2-40B4-BE49-F238E27FC236}">
                <a16:creationId xmlns:a16="http://schemas.microsoft.com/office/drawing/2014/main" id="{2BB456BD-D714-4320-9FD6-D7AD08FAAA18}"/>
              </a:ext>
            </a:extLst>
          </p:cNvPr>
          <p:cNvPicPr>
            <a:picLocks noChangeAspect="1"/>
          </p:cNvPicPr>
          <p:nvPr userDrawn="1"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2" name="Logo_SpareBank1_Modum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7A283A-E9F0-4566-A3E0-8F0620EA765D}"/>
              </a:ext>
            </a:extLst>
          </p:cNvPr>
          <p:cNvPicPr>
            <a:picLocks noChangeAspect="1"/>
          </p:cNvPicPr>
          <p:nvPr userDrawn="1"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3" name="Logo_SpareBank1_Nord-Norge_blaa" hidden="1">
            <a:extLst>
              <a:ext uri="{FF2B5EF4-FFF2-40B4-BE49-F238E27FC236}">
                <a16:creationId xmlns:a16="http://schemas.microsoft.com/office/drawing/2014/main" id="{43101046-2EBF-4947-A6EB-C233820190C4}"/>
              </a:ext>
            </a:extLst>
          </p:cNvPr>
          <p:cNvPicPr>
            <a:picLocks noChangeAspect="1"/>
          </p:cNvPicPr>
          <p:nvPr userDrawn="1"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4" name="Logo_SpareBank1_Nord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19CE5EB4-30DC-4B90-A86D-39C358D12350}"/>
              </a:ext>
            </a:extLst>
          </p:cNvPr>
          <p:cNvPicPr>
            <a:picLocks noChangeAspect="1"/>
          </p:cNvPicPr>
          <p:nvPr userDrawn="1"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3" name="Logo_SpareBank1_Nord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81907AB8-BA84-45CC-8D3B-49BE2C96D615}"/>
              </a:ext>
            </a:extLst>
          </p:cNvPr>
          <p:cNvPicPr>
            <a:picLocks noChangeAspect="1"/>
          </p:cNvPicPr>
          <p:nvPr userDrawn="1"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4" name="Logo_SpareBank1_Nordmøre_blaa" hidden="1">
            <a:extLst>
              <a:ext uri="{FF2B5EF4-FFF2-40B4-BE49-F238E27FC236}">
                <a16:creationId xmlns:a16="http://schemas.microsoft.com/office/drawing/2014/main" id="{450BB9C8-39CA-4C74-A7B9-E5DFA114E314}"/>
              </a:ext>
            </a:extLst>
          </p:cNvPr>
          <p:cNvPicPr>
            <a:picLocks noChangeAspect="1"/>
          </p:cNvPicPr>
          <p:nvPr userDrawn="1"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52" name="Logo_SpareBank1_Regnskapshus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64664DE2-B7F1-4F09-8F8F-49FA5E240A8F}"/>
              </a:ext>
            </a:extLst>
          </p:cNvPr>
          <p:cNvPicPr>
            <a:picLocks noChangeAspect="1"/>
          </p:cNvPicPr>
          <p:nvPr userDrawn="1"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54" name="Logo_SpareBank1_Regnskapshus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F0EA445F-A2B1-4FB0-B81B-2A87CBF18084}"/>
              </a:ext>
            </a:extLst>
          </p:cNvPr>
          <p:cNvPicPr>
            <a:picLocks noChangeAspect="1"/>
          </p:cNvPicPr>
          <p:nvPr userDrawn="1"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6624" y="6246493"/>
            <a:ext cx="1741064" cy="396000"/>
          </a:xfrm>
          <a:prstGeom prst="rect">
            <a:avLst/>
          </a:prstGeom>
        </p:spPr>
      </p:pic>
      <p:pic>
        <p:nvPicPr>
          <p:cNvPr id="27" name="Logo_SpareBank1_Ringerike_Hadeland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4E9C587-69DB-47CF-91A0-25BB068F5902}"/>
              </a:ext>
            </a:extLst>
          </p:cNvPr>
          <p:cNvPicPr>
            <a:picLocks noChangeAspect="1"/>
          </p:cNvPicPr>
          <p:nvPr userDrawn="1"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28" name="Logo_SpareBank1_Ringerike_Hadeland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BE66D82E-E542-474E-80B4-974766CF869D}"/>
              </a:ext>
            </a:extLst>
          </p:cNvPr>
          <p:cNvPicPr>
            <a:picLocks noChangeAspect="1"/>
          </p:cNvPicPr>
          <p:nvPr userDrawn="1"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6568" y="6246493"/>
            <a:ext cx="2001120" cy="396000"/>
          </a:xfrm>
          <a:prstGeom prst="rect">
            <a:avLst/>
          </a:prstGeom>
        </p:spPr>
      </p:pic>
      <p:pic>
        <p:nvPicPr>
          <p:cNvPr id="53" name="Logo_SpareBank1_SamSpar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B79E6DA-CD6C-4D54-90FE-4C8597BD6958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5" name="Logo_SpareBank1_SamSpar_blaa" hidden="1">
            <a:extLst>
              <a:ext uri="{FF2B5EF4-FFF2-40B4-BE49-F238E27FC236}">
                <a16:creationId xmlns:a16="http://schemas.microsoft.com/office/drawing/2014/main" id="{244336BA-B162-4D7A-9AE5-117FCBDC4277}"/>
              </a:ext>
            </a:extLst>
          </p:cNvPr>
          <p:cNvPicPr>
            <a:picLocks noChangeAspect="1"/>
          </p:cNvPicPr>
          <p:nvPr userDrawn="1"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29" name="Logo_SpareBank1_SMN_blaa" hidden="1">
            <a:extLst>
              <a:ext uri="{FF2B5EF4-FFF2-40B4-BE49-F238E27FC236}">
                <a16:creationId xmlns:a16="http://schemas.microsoft.com/office/drawing/2014/main" id="{10B56460-52F0-4BA9-81C3-AC3FC01D16AB}"/>
              </a:ext>
            </a:extLst>
          </p:cNvPr>
          <p:cNvPicPr>
            <a:picLocks noChangeAspect="1"/>
          </p:cNvPicPr>
          <p:nvPr userDrawn="1"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0" name="Logo_SpareBank1_SMN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EA6BA4FD-86B8-4A25-A7A7-6A94E8E62B42}"/>
              </a:ext>
            </a:extLst>
          </p:cNvPr>
          <p:cNvPicPr>
            <a:picLocks noChangeAspect="1"/>
          </p:cNvPicPr>
          <p:nvPr userDrawn="1"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25" name="Logo_SpareBank1_Sogn_og_Fjordane_hvit" descr="Et bilde som inneholder tekst, Font, Grafikk, logo&#10;&#10;Automatisk generert beskrivelse" hidden="1">
            <a:extLst>
              <a:ext uri="{FF2B5EF4-FFF2-40B4-BE49-F238E27FC236}">
                <a16:creationId xmlns:a16="http://schemas.microsoft.com/office/drawing/2014/main" id="{4A68584D-4A00-9387-9C11-04BD62241A82}"/>
              </a:ext>
            </a:extLst>
          </p:cNvPr>
          <p:cNvPicPr>
            <a:picLocks noChangeAspect="1"/>
          </p:cNvPicPr>
          <p:nvPr userDrawn="1"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40" name="Logo_SpareBank1_Sogn_og_Fjordane_blaa" descr="Et bilde som inneholder Font, tekst, Grafikk, logo&#10;&#10;Automatisk generert beskrivelse" hidden="1">
            <a:extLst>
              <a:ext uri="{FF2B5EF4-FFF2-40B4-BE49-F238E27FC236}">
                <a16:creationId xmlns:a16="http://schemas.microsoft.com/office/drawing/2014/main" id="{10381E7A-6DB9-2EAA-36E9-7E47C3C7ED9D}"/>
              </a:ext>
            </a:extLst>
          </p:cNvPr>
          <p:cNvPicPr>
            <a:picLocks noChangeAspect="1"/>
          </p:cNvPicPr>
          <p:nvPr userDrawn="1"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066" y="6246493"/>
            <a:ext cx="1737622" cy="396000"/>
          </a:xfrm>
          <a:prstGeom prst="rect">
            <a:avLst/>
          </a:prstGeom>
        </p:spPr>
      </p:pic>
      <p:pic>
        <p:nvPicPr>
          <p:cNvPr id="31" name="Logo_SpareBank1_SR-Bank_blaa" hidden="1">
            <a:extLst>
              <a:ext uri="{FF2B5EF4-FFF2-40B4-BE49-F238E27FC236}">
                <a16:creationId xmlns:a16="http://schemas.microsoft.com/office/drawing/2014/main" id="{71D6B0B7-324F-4237-9E44-DFEC9DCB8EA2}"/>
              </a:ext>
            </a:extLst>
          </p:cNvPr>
          <p:cNvPicPr>
            <a:picLocks noChangeAspect="1"/>
          </p:cNvPicPr>
          <p:nvPr userDrawn="1"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2" name="Logo_SpareBank1_SR-Ban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5350D87F-F50A-41F8-B2F1-7B0487EE5A88}"/>
              </a:ext>
            </a:extLst>
          </p:cNvPr>
          <p:cNvPicPr>
            <a:picLocks noChangeAspect="1"/>
          </p:cNvPicPr>
          <p:nvPr userDrawn="1"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3" name="Logo_SpareBank1_Søre_Sunnmøre_blaa" hidden="1">
            <a:extLst>
              <a:ext uri="{FF2B5EF4-FFF2-40B4-BE49-F238E27FC236}">
                <a16:creationId xmlns:a16="http://schemas.microsoft.com/office/drawing/2014/main" id="{144379FE-2380-48A2-97E8-A0FB04AF94FD}"/>
              </a:ext>
            </a:extLst>
          </p:cNvPr>
          <p:cNvPicPr>
            <a:picLocks noChangeAspect="1"/>
          </p:cNvPicPr>
          <p:nvPr userDrawn="1"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4" name="Logo_SpareBank1_Søre_Sunnmør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7CC72A1B-F55A-432C-931E-CF9326068516}"/>
              </a:ext>
            </a:extLst>
          </p:cNvPr>
          <p:cNvPicPr>
            <a:picLocks noChangeAspect="1"/>
          </p:cNvPicPr>
          <p:nvPr userDrawn="1"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45" name="Logo_SpareBank1_Sørøst-Norge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95F2A5E6-C54F-4ED7-B293-C96F59F99C56}"/>
              </a:ext>
            </a:extLst>
          </p:cNvPr>
          <p:cNvPicPr>
            <a:picLocks noChangeAspect="1"/>
          </p:cNvPicPr>
          <p:nvPr userDrawn="1"/>
        </p:nvPicPr>
        <p:blipFill>
          <a:blip r:embed="rId9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51" name="Logo_SpareBank1_Sørøst-Norge_blaa" hidden="1">
            <a:extLst>
              <a:ext uri="{FF2B5EF4-FFF2-40B4-BE49-F238E27FC236}">
                <a16:creationId xmlns:a16="http://schemas.microsoft.com/office/drawing/2014/main" id="{9F247EDB-7F55-4751-909A-2C3B8B7053AE}"/>
              </a:ext>
            </a:extLst>
          </p:cNvPr>
          <p:cNvPicPr>
            <a:picLocks noChangeAspect="1"/>
          </p:cNvPicPr>
          <p:nvPr userDrawn="1"/>
        </p:nvPicPr>
        <p:blipFill>
          <a:blip r:embed="rId9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169" y="6246493"/>
            <a:ext cx="1740519" cy="396000"/>
          </a:xfrm>
          <a:prstGeom prst="rect">
            <a:avLst/>
          </a:prstGeom>
        </p:spPr>
      </p:pic>
      <p:pic>
        <p:nvPicPr>
          <p:cNvPr id="35" name="Logo_SpareBank1_Telemark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E7DA024E-9A38-4E86-9D1D-5203A16C3871}"/>
              </a:ext>
            </a:extLst>
          </p:cNvPr>
          <p:cNvPicPr>
            <a:picLocks noChangeAspect="1"/>
          </p:cNvPicPr>
          <p:nvPr userDrawn="1"/>
        </p:nvPicPr>
        <p:blipFill>
          <a:blip r:embed="rId10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6" name="Logo_SpareBank1_Telemark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C2F89C1B-E846-49C4-9A74-8A50DEF0089C}"/>
              </a:ext>
            </a:extLst>
          </p:cNvPr>
          <p:cNvPicPr>
            <a:picLocks noChangeAspect="1"/>
          </p:cNvPicPr>
          <p:nvPr userDrawn="1"/>
        </p:nvPicPr>
        <p:blipFill>
          <a:blip r:embed="rId10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2680" y="6246493"/>
            <a:ext cx="1735008" cy="396000"/>
          </a:xfrm>
          <a:prstGeom prst="rect">
            <a:avLst/>
          </a:prstGeom>
        </p:spPr>
      </p:pic>
      <p:pic>
        <p:nvPicPr>
          <p:cNvPr id="37" name="Logo_SpareBank1_Østfold_Akershus_blaa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28CB051C-CCF4-48CA-B170-DFEBE327A97B}"/>
              </a:ext>
            </a:extLst>
          </p:cNvPr>
          <p:cNvPicPr>
            <a:picLocks noChangeAspect="1"/>
          </p:cNvPicPr>
          <p:nvPr userDrawn="1"/>
        </p:nvPicPr>
        <p:blipFill>
          <a:blip r:embed="rId10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38" name="Logo_SpareBank1_Østfold_Akershus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412B20B2-EEB3-4CB5-9343-EBF2A3ABEC38}"/>
              </a:ext>
            </a:extLst>
          </p:cNvPr>
          <p:cNvPicPr>
            <a:picLocks noChangeAspect="1"/>
          </p:cNvPicPr>
          <p:nvPr userDrawn="1"/>
        </p:nvPicPr>
        <p:blipFill>
          <a:blip r:embed="rId10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9624" y="6246493"/>
            <a:ext cx="1868064" cy="396000"/>
          </a:xfrm>
          <a:prstGeom prst="rect">
            <a:avLst/>
          </a:prstGeom>
        </p:spPr>
      </p:pic>
      <p:pic>
        <p:nvPicPr>
          <p:cNvPr id="48" name="Logo_SpareBank1_Østlandet_blaa" descr="Et bilde som inneholder tekst, servise, tallerken&#10;&#10;Automatisk generert beskrivelse" hidden="1">
            <a:extLst>
              <a:ext uri="{FF2B5EF4-FFF2-40B4-BE49-F238E27FC236}">
                <a16:creationId xmlns:a16="http://schemas.microsoft.com/office/drawing/2014/main" id="{E927BB58-AF04-4D48-9C20-378D9B7A49BC}"/>
              </a:ext>
            </a:extLst>
          </p:cNvPr>
          <p:cNvPicPr>
            <a:picLocks noChangeAspect="1"/>
          </p:cNvPicPr>
          <p:nvPr userDrawn="1"/>
        </p:nvPicPr>
        <p:blipFill>
          <a:blip r:embed="rId10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  <p:pic>
        <p:nvPicPr>
          <p:cNvPr id="39" name="Logo_SpareBank1_Østlandet_hvit" descr="Et bilde som inneholder tekst&#10;&#10;Automatisk generert beskrivelse" hidden="1">
            <a:extLst>
              <a:ext uri="{FF2B5EF4-FFF2-40B4-BE49-F238E27FC236}">
                <a16:creationId xmlns:a16="http://schemas.microsoft.com/office/drawing/2014/main" id="{AA84A37E-35CA-403D-ABDF-9F75F8E49A16}"/>
              </a:ext>
            </a:extLst>
          </p:cNvPr>
          <p:cNvPicPr>
            <a:picLocks noChangeAspect="1"/>
          </p:cNvPicPr>
          <p:nvPr userDrawn="1"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2347" y="6246493"/>
            <a:ext cx="1675341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430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  <p:sldLayoutId id="2147483844" r:id="rId17"/>
    <p:sldLayoutId id="2147483845" r:id="rId18"/>
    <p:sldLayoutId id="2147483846" r:id="rId19"/>
    <p:sldLayoutId id="2147483847" r:id="rId20"/>
    <p:sldLayoutId id="2147483848" r:id="rId21"/>
    <p:sldLayoutId id="2147483849" r:id="rId22"/>
    <p:sldLayoutId id="2147483850" r:id="rId23"/>
    <p:sldLayoutId id="2147483851" r:id="rId24"/>
    <p:sldLayoutId id="2147483852" r:id="rId25"/>
    <p:sldLayoutId id="2147483853" r:id="rId26"/>
    <p:sldLayoutId id="2147483854" r:id="rId27"/>
    <p:sldLayoutId id="2147483855" r:id="rId28"/>
    <p:sldLayoutId id="2147483856" r:id="rId29"/>
    <p:sldLayoutId id="2147483857" r:id="rId30"/>
    <p:sldLayoutId id="2147483858" r:id="rId31"/>
    <p:sldLayoutId id="2147483859" r:id="rId32"/>
    <p:sldLayoutId id="2147483860" r:id="rId33"/>
    <p:sldLayoutId id="2147483861" r:id="rId34"/>
    <p:sldLayoutId id="2147483862" r:id="rId35"/>
    <p:sldLayoutId id="2147483863" r:id="rId36"/>
    <p:sldLayoutId id="2147483864" r:id="rId37"/>
    <p:sldLayoutId id="2147483865" r:id="rId38"/>
    <p:sldLayoutId id="2147483866" r:id="rId39"/>
    <p:sldLayoutId id="2147483867" r:id="rId40"/>
    <p:sldLayoutId id="2147483868" r:id="rId41"/>
    <p:sldLayoutId id="2147483869" r:id="rId42"/>
    <p:sldLayoutId id="2147483870" r:id="rId43"/>
    <p:sldLayoutId id="2147483871" r:id="rId44"/>
    <p:sldLayoutId id="2147483872" r:id="rId45"/>
    <p:sldLayoutId id="2147483873" r:id="rId46"/>
    <p:sldLayoutId id="2147483874" r:id="rId47"/>
    <p:sldLayoutId id="2147483875" r:id="rId48"/>
    <p:sldLayoutId id="2147483876" r:id="rId49"/>
    <p:sldLayoutId id="2147483877" r:id="rId50"/>
    <p:sldLayoutId id="2147483878" r:id="rId51"/>
    <p:sldLayoutId id="2147483879" r:id="rId52"/>
    <p:sldLayoutId id="2147483880" r:id="rId53"/>
    <p:sldLayoutId id="2147483881" r:id="rId54"/>
    <p:sldLayoutId id="2147483882" r:id="rId55"/>
    <p:sldLayoutId id="2147483883" r:id="rId56"/>
    <p:sldLayoutId id="2147483884" r:id="rId57"/>
    <p:sldLayoutId id="2147483885" r:id="rId5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0207D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rgbClr val="00207D"/>
          </a:solidFill>
          <a:latin typeface="+mn-lt"/>
          <a:ea typeface="+mn-ea"/>
          <a:cs typeface="+mn-cs"/>
        </a:defRPr>
      </a:lvl1pPr>
      <a:lvl2pPr marL="7452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00207D"/>
          </a:solidFill>
          <a:latin typeface="+mn-lt"/>
          <a:ea typeface="+mn-ea"/>
          <a:cs typeface="+mn-cs"/>
        </a:defRPr>
      </a:lvl3pPr>
      <a:lvl4pPr marL="163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4pPr>
      <a:lvl5pPr marL="2088000" indent="-28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00207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76.png"/><Relationship Id="rId18" Type="http://schemas.openxmlformats.org/officeDocument/2006/relationships/image" Target="../media/image181.svg"/><Relationship Id="rId3" Type="http://schemas.openxmlformats.org/officeDocument/2006/relationships/tags" Target="../tags/tag37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175.svg"/><Relationship Id="rId17" Type="http://schemas.openxmlformats.org/officeDocument/2006/relationships/image" Target="../media/image180.png"/><Relationship Id="rId2" Type="http://schemas.openxmlformats.org/officeDocument/2006/relationships/tags" Target="../tags/tag36.xml"/><Relationship Id="rId16" Type="http://schemas.openxmlformats.org/officeDocument/2006/relationships/image" Target="../media/image179.svg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image" Target="../media/image174.png"/><Relationship Id="rId5" Type="http://schemas.openxmlformats.org/officeDocument/2006/relationships/tags" Target="../tags/tag39.xml"/><Relationship Id="rId15" Type="http://schemas.openxmlformats.org/officeDocument/2006/relationships/image" Target="../media/image178.png"/><Relationship Id="rId10" Type="http://schemas.openxmlformats.org/officeDocument/2006/relationships/image" Target="../media/image48.emf"/><Relationship Id="rId4" Type="http://schemas.openxmlformats.org/officeDocument/2006/relationships/tags" Target="../tags/tag38.xml"/><Relationship Id="rId9" Type="http://schemas.openxmlformats.org/officeDocument/2006/relationships/image" Target="../media/image60.emf"/><Relationship Id="rId14" Type="http://schemas.openxmlformats.org/officeDocument/2006/relationships/image" Target="../media/image17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182.png"/><Relationship Id="rId18" Type="http://schemas.openxmlformats.org/officeDocument/2006/relationships/image" Target="../media/image187.svg"/><Relationship Id="rId3" Type="http://schemas.openxmlformats.org/officeDocument/2006/relationships/tags" Target="../tags/tag43.xml"/><Relationship Id="rId21" Type="http://schemas.openxmlformats.org/officeDocument/2006/relationships/image" Target="../media/image190.svg"/><Relationship Id="rId7" Type="http://schemas.openxmlformats.org/officeDocument/2006/relationships/tags" Target="../tags/tag47.xml"/><Relationship Id="rId12" Type="http://schemas.openxmlformats.org/officeDocument/2006/relationships/image" Target="../media/image48.emf"/><Relationship Id="rId17" Type="http://schemas.openxmlformats.org/officeDocument/2006/relationships/image" Target="../media/image186.png"/><Relationship Id="rId2" Type="http://schemas.openxmlformats.org/officeDocument/2006/relationships/tags" Target="../tags/tag42.xml"/><Relationship Id="rId16" Type="http://schemas.openxmlformats.org/officeDocument/2006/relationships/image" Target="../media/image185.svg"/><Relationship Id="rId20" Type="http://schemas.openxmlformats.org/officeDocument/2006/relationships/image" Target="../media/image189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image" Target="../media/image60.emf"/><Relationship Id="rId5" Type="http://schemas.openxmlformats.org/officeDocument/2006/relationships/tags" Target="../tags/tag45.xml"/><Relationship Id="rId15" Type="http://schemas.openxmlformats.org/officeDocument/2006/relationships/image" Target="../media/image184.png"/><Relationship Id="rId10" Type="http://schemas.openxmlformats.org/officeDocument/2006/relationships/oleObject" Target="../embeddings/oleObject5.bin"/><Relationship Id="rId19" Type="http://schemas.openxmlformats.org/officeDocument/2006/relationships/image" Target="../media/image188.jpeg"/><Relationship Id="rId4" Type="http://schemas.openxmlformats.org/officeDocument/2006/relationships/tags" Target="../tags/tag44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183.svg"/><Relationship Id="rId22" Type="http://schemas.openxmlformats.org/officeDocument/2006/relationships/image" Target="../media/image19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193.svg"/><Relationship Id="rId18" Type="http://schemas.openxmlformats.org/officeDocument/2006/relationships/image" Target="../media/image198.png"/><Relationship Id="rId3" Type="http://schemas.openxmlformats.org/officeDocument/2006/relationships/tags" Target="../tags/tag50.xml"/><Relationship Id="rId21" Type="http://schemas.openxmlformats.org/officeDocument/2006/relationships/image" Target="../media/image201.svg"/><Relationship Id="rId7" Type="http://schemas.openxmlformats.org/officeDocument/2006/relationships/tags" Target="../tags/tag54.xml"/><Relationship Id="rId12" Type="http://schemas.openxmlformats.org/officeDocument/2006/relationships/image" Target="../media/image192.png"/><Relationship Id="rId17" Type="http://schemas.openxmlformats.org/officeDocument/2006/relationships/image" Target="../media/image197.svg"/><Relationship Id="rId2" Type="http://schemas.openxmlformats.org/officeDocument/2006/relationships/tags" Target="../tags/tag49.xml"/><Relationship Id="rId16" Type="http://schemas.openxmlformats.org/officeDocument/2006/relationships/image" Target="../media/image196.png"/><Relationship Id="rId20" Type="http://schemas.openxmlformats.org/officeDocument/2006/relationships/image" Target="../media/image200.png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image" Target="../media/image48.emf"/><Relationship Id="rId5" Type="http://schemas.openxmlformats.org/officeDocument/2006/relationships/tags" Target="../tags/tag52.xml"/><Relationship Id="rId15" Type="http://schemas.openxmlformats.org/officeDocument/2006/relationships/image" Target="../media/image195.svg"/><Relationship Id="rId10" Type="http://schemas.openxmlformats.org/officeDocument/2006/relationships/image" Target="../media/image60.emf"/><Relationship Id="rId19" Type="http://schemas.openxmlformats.org/officeDocument/2006/relationships/image" Target="../media/image199.svg"/><Relationship Id="rId4" Type="http://schemas.openxmlformats.org/officeDocument/2006/relationships/tags" Target="../tags/tag51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9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204.png"/><Relationship Id="rId3" Type="http://schemas.openxmlformats.org/officeDocument/2006/relationships/tags" Target="../tags/tag57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203.svg"/><Relationship Id="rId17" Type="http://schemas.openxmlformats.org/officeDocument/2006/relationships/image" Target="../media/image208.svg"/><Relationship Id="rId2" Type="http://schemas.openxmlformats.org/officeDocument/2006/relationships/tags" Target="../tags/tag56.xml"/><Relationship Id="rId16" Type="http://schemas.openxmlformats.org/officeDocument/2006/relationships/image" Target="../media/image207.svg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02.png"/><Relationship Id="rId5" Type="http://schemas.openxmlformats.org/officeDocument/2006/relationships/tags" Target="../tags/tag59.xml"/><Relationship Id="rId15" Type="http://schemas.openxmlformats.org/officeDocument/2006/relationships/image" Target="../media/image206.png"/><Relationship Id="rId10" Type="http://schemas.openxmlformats.org/officeDocument/2006/relationships/image" Target="../media/image48.emf"/><Relationship Id="rId4" Type="http://schemas.openxmlformats.org/officeDocument/2006/relationships/tags" Target="../tags/tag58.xml"/><Relationship Id="rId9" Type="http://schemas.openxmlformats.org/officeDocument/2006/relationships/image" Target="../media/image60.emf"/><Relationship Id="rId14" Type="http://schemas.openxmlformats.org/officeDocument/2006/relationships/image" Target="../media/image20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image" Target="../media/image60.emf"/><Relationship Id="rId18" Type="http://schemas.openxmlformats.org/officeDocument/2006/relationships/image" Target="../media/image214.svg"/><Relationship Id="rId26" Type="http://schemas.openxmlformats.org/officeDocument/2006/relationships/image" Target="../media/image221.svg"/><Relationship Id="rId3" Type="http://schemas.openxmlformats.org/officeDocument/2006/relationships/tags" Target="../tags/tag63.xml"/><Relationship Id="rId21" Type="http://schemas.openxmlformats.org/officeDocument/2006/relationships/image" Target="../media/image217.png"/><Relationship Id="rId7" Type="http://schemas.openxmlformats.org/officeDocument/2006/relationships/tags" Target="../tags/tag67.xml"/><Relationship Id="rId12" Type="http://schemas.openxmlformats.org/officeDocument/2006/relationships/oleObject" Target="../embeddings/oleObject5.bin"/><Relationship Id="rId17" Type="http://schemas.openxmlformats.org/officeDocument/2006/relationships/image" Target="../media/image213.png"/><Relationship Id="rId25" Type="http://schemas.openxmlformats.org/officeDocument/2006/relationships/image" Target="../media/image169.png"/><Relationship Id="rId2" Type="http://schemas.openxmlformats.org/officeDocument/2006/relationships/tags" Target="../tags/tag62.xml"/><Relationship Id="rId16" Type="http://schemas.openxmlformats.org/officeDocument/2006/relationships/image" Target="../media/image212.svg"/><Relationship Id="rId20" Type="http://schemas.openxmlformats.org/officeDocument/2006/relationships/image" Target="../media/image216.svg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image" Target="../media/image210.png"/><Relationship Id="rId24" Type="http://schemas.openxmlformats.org/officeDocument/2006/relationships/image" Target="../media/image220.svg"/><Relationship Id="rId5" Type="http://schemas.openxmlformats.org/officeDocument/2006/relationships/tags" Target="../tags/tag65.xml"/><Relationship Id="rId15" Type="http://schemas.openxmlformats.org/officeDocument/2006/relationships/image" Target="../media/image211.png"/><Relationship Id="rId23" Type="http://schemas.openxmlformats.org/officeDocument/2006/relationships/image" Target="../media/image219.png"/><Relationship Id="rId10" Type="http://schemas.openxmlformats.org/officeDocument/2006/relationships/image" Target="../media/image209.jpeg"/><Relationship Id="rId19" Type="http://schemas.openxmlformats.org/officeDocument/2006/relationships/image" Target="../media/image215.png"/><Relationship Id="rId4" Type="http://schemas.openxmlformats.org/officeDocument/2006/relationships/tags" Target="../tags/tag64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48.emf"/><Relationship Id="rId22" Type="http://schemas.openxmlformats.org/officeDocument/2006/relationships/image" Target="../media/image218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image" Target="../media/image222.jpeg"/><Relationship Id="rId18" Type="http://schemas.openxmlformats.org/officeDocument/2006/relationships/image" Target="../media/image226.svg"/><Relationship Id="rId26" Type="http://schemas.openxmlformats.org/officeDocument/2006/relationships/image" Target="../media/image233.svg"/><Relationship Id="rId3" Type="http://schemas.openxmlformats.org/officeDocument/2006/relationships/tags" Target="../tags/tag71.xml"/><Relationship Id="rId21" Type="http://schemas.openxmlformats.org/officeDocument/2006/relationships/image" Target="../media/image229.png"/><Relationship Id="rId7" Type="http://schemas.openxmlformats.org/officeDocument/2006/relationships/tags" Target="../tags/tag75.xml"/><Relationship Id="rId12" Type="http://schemas.openxmlformats.org/officeDocument/2006/relationships/image" Target="../media/image48.emf"/><Relationship Id="rId17" Type="http://schemas.openxmlformats.org/officeDocument/2006/relationships/image" Target="../media/image225.png"/><Relationship Id="rId25" Type="http://schemas.openxmlformats.org/officeDocument/2006/relationships/image" Target="../media/image180.png"/><Relationship Id="rId2" Type="http://schemas.openxmlformats.org/officeDocument/2006/relationships/tags" Target="../tags/tag70.xml"/><Relationship Id="rId16" Type="http://schemas.openxmlformats.org/officeDocument/2006/relationships/image" Target="../media/image224.svg"/><Relationship Id="rId20" Type="http://schemas.openxmlformats.org/officeDocument/2006/relationships/image" Target="../media/image228.svg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image" Target="../media/image60.emf"/><Relationship Id="rId24" Type="http://schemas.openxmlformats.org/officeDocument/2006/relationships/image" Target="../media/image232.svg"/><Relationship Id="rId5" Type="http://schemas.openxmlformats.org/officeDocument/2006/relationships/tags" Target="../tags/tag73.xml"/><Relationship Id="rId15" Type="http://schemas.openxmlformats.org/officeDocument/2006/relationships/image" Target="../media/image223.png"/><Relationship Id="rId23" Type="http://schemas.openxmlformats.org/officeDocument/2006/relationships/image" Target="../media/image231.png"/><Relationship Id="rId10" Type="http://schemas.openxmlformats.org/officeDocument/2006/relationships/oleObject" Target="../embeddings/oleObject5.bin"/><Relationship Id="rId19" Type="http://schemas.openxmlformats.org/officeDocument/2006/relationships/image" Target="../media/image227.png"/><Relationship Id="rId4" Type="http://schemas.openxmlformats.org/officeDocument/2006/relationships/tags" Target="../tags/tag72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210.png"/><Relationship Id="rId22" Type="http://schemas.openxmlformats.org/officeDocument/2006/relationships/image" Target="../media/image230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image" Target="../media/image210.png"/><Relationship Id="rId18" Type="http://schemas.openxmlformats.org/officeDocument/2006/relationships/image" Target="../media/image239.png"/><Relationship Id="rId26" Type="http://schemas.openxmlformats.org/officeDocument/2006/relationships/image" Target="../media/image48.emf"/><Relationship Id="rId3" Type="http://schemas.openxmlformats.org/officeDocument/2006/relationships/tags" Target="../tags/tag79.xml"/><Relationship Id="rId21" Type="http://schemas.openxmlformats.org/officeDocument/2006/relationships/image" Target="../media/image230.svg"/><Relationship Id="rId7" Type="http://schemas.openxmlformats.org/officeDocument/2006/relationships/tags" Target="../tags/tag83.xml"/><Relationship Id="rId12" Type="http://schemas.openxmlformats.org/officeDocument/2006/relationships/image" Target="../media/image234.jpeg"/><Relationship Id="rId17" Type="http://schemas.openxmlformats.org/officeDocument/2006/relationships/image" Target="../media/image238.svg"/><Relationship Id="rId25" Type="http://schemas.openxmlformats.org/officeDocument/2006/relationships/image" Target="../media/image242.svg"/><Relationship Id="rId2" Type="http://schemas.openxmlformats.org/officeDocument/2006/relationships/tags" Target="../tags/tag78.xml"/><Relationship Id="rId16" Type="http://schemas.openxmlformats.org/officeDocument/2006/relationships/image" Target="../media/image237.png"/><Relationship Id="rId20" Type="http://schemas.openxmlformats.org/officeDocument/2006/relationships/image" Target="../media/image229.png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image" Target="../media/image60.emf"/><Relationship Id="rId24" Type="http://schemas.openxmlformats.org/officeDocument/2006/relationships/image" Target="../media/image241.png"/><Relationship Id="rId5" Type="http://schemas.openxmlformats.org/officeDocument/2006/relationships/tags" Target="../tags/tag81.xml"/><Relationship Id="rId15" Type="http://schemas.openxmlformats.org/officeDocument/2006/relationships/image" Target="../media/image236.svg"/><Relationship Id="rId23" Type="http://schemas.openxmlformats.org/officeDocument/2006/relationships/image" Target="../media/image232.svg"/><Relationship Id="rId10" Type="http://schemas.openxmlformats.org/officeDocument/2006/relationships/oleObject" Target="../embeddings/oleObject5.bin"/><Relationship Id="rId19" Type="http://schemas.openxmlformats.org/officeDocument/2006/relationships/image" Target="../media/image240.svg"/><Relationship Id="rId4" Type="http://schemas.openxmlformats.org/officeDocument/2006/relationships/tags" Target="../tags/tag80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235.png"/><Relationship Id="rId22" Type="http://schemas.openxmlformats.org/officeDocument/2006/relationships/image" Target="../media/image23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13" Type="http://schemas.openxmlformats.org/officeDocument/2006/relationships/image" Target="../media/image246.svg"/><Relationship Id="rId3" Type="http://schemas.openxmlformats.org/officeDocument/2006/relationships/tags" Target="../tags/tag87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45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slideLayout" Target="../slideLayouts/slideLayout51.xml"/><Relationship Id="rId11" Type="http://schemas.openxmlformats.org/officeDocument/2006/relationships/image" Target="../media/image244.svg"/><Relationship Id="rId5" Type="http://schemas.openxmlformats.org/officeDocument/2006/relationships/tags" Target="../tags/tag89.xml"/><Relationship Id="rId15" Type="http://schemas.openxmlformats.org/officeDocument/2006/relationships/image" Target="../media/image248.svg"/><Relationship Id="rId10" Type="http://schemas.openxmlformats.org/officeDocument/2006/relationships/image" Target="../media/image243.png"/><Relationship Id="rId4" Type="http://schemas.openxmlformats.org/officeDocument/2006/relationships/tags" Target="../tags/tag88.xml"/><Relationship Id="rId9" Type="http://schemas.openxmlformats.org/officeDocument/2006/relationships/image" Target="../media/image48.emf"/><Relationship Id="rId14" Type="http://schemas.openxmlformats.org/officeDocument/2006/relationships/image" Target="../media/image24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emf"/><Relationship Id="rId13" Type="http://schemas.openxmlformats.org/officeDocument/2006/relationships/image" Target="../media/image48.emf"/><Relationship Id="rId3" Type="http://schemas.openxmlformats.org/officeDocument/2006/relationships/tags" Target="../tags/tag92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52.sv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51.xml"/><Relationship Id="rId11" Type="http://schemas.openxmlformats.org/officeDocument/2006/relationships/image" Target="../media/image251.png"/><Relationship Id="rId5" Type="http://schemas.openxmlformats.org/officeDocument/2006/relationships/tags" Target="../tags/tag94.xml"/><Relationship Id="rId15" Type="http://schemas.openxmlformats.org/officeDocument/2006/relationships/image" Target="../media/image254.svg"/><Relationship Id="rId10" Type="http://schemas.openxmlformats.org/officeDocument/2006/relationships/image" Target="../media/image250.svg"/><Relationship Id="rId4" Type="http://schemas.openxmlformats.org/officeDocument/2006/relationships/tags" Target="../tags/tag93.xml"/><Relationship Id="rId9" Type="http://schemas.openxmlformats.org/officeDocument/2006/relationships/image" Target="../media/image249.png"/><Relationship Id="rId14" Type="http://schemas.openxmlformats.org/officeDocument/2006/relationships/image" Target="../media/image25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27.sv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4.xml"/><Relationship Id="rId6" Type="http://schemas.openxmlformats.org/officeDocument/2006/relationships/image" Target="../media/image126.png"/><Relationship Id="rId5" Type="http://schemas.openxmlformats.org/officeDocument/2006/relationships/image" Target="../media/image125.png"/><Relationship Id="rId4" Type="http://schemas.openxmlformats.org/officeDocument/2006/relationships/image" Target="../media/image60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5.png"/><Relationship Id="rId13" Type="http://schemas.openxmlformats.org/officeDocument/2006/relationships/image" Target="../media/image260.svg"/><Relationship Id="rId3" Type="http://schemas.openxmlformats.org/officeDocument/2006/relationships/tags" Target="../tags/tag97.xml"/><Relationship Id="rId7" Type="http://schemas.openxmlformats.org/officeDocument/2006/relationships/image" Target="../media/image48.emf"/><Relationship Id="rId12" Type="http://schemas.openxmlformats.org/officeDocument/2006/relationships/image" Target="../media/image259.png"/><Relationship Id="rId2" Type="http://schemas.openxmlformats.org/officeDocument/2006/relationships/tags" Target="../tags/tag96.xml"/><Relationship Id="rId16" Type="http://schemas.openxmlformats.org/officeDocument/2006/relationships/image" Target="../media/image263.png"/><Relationship Id="rId1" Type="http://schemas.openxmlformats.org/officeDocument/2006/relationships/tags" Target="../tags/tag95.xml"/><Relationship Id="rId6" Type="http://schemas.openxmlformats.org/officeDocument/2006/relationships/slideLayout" Target="../slideLayouts/slideLayout53.xml"/><Relationship Id="rId11" Type="http://schemas.openxmlformats.org/officeDocument/2006/relationships/image" Target="../media/image258.svg"/><Relationship Id="rId5" Type="http://schemas.openxmlformats.org/officeDocument/2006/relationships/tags" Target="../tags/tag99.xml"/><Relationship Id="rId15" Type="http://schemas.openxmlformats.org/officeDocument/2006/relationships/image" Target="../media/image262.svg"/><Relationship Id="rId10" Type="http://schemas.openxmlformats.org/officeDocument/2006/relationships/image" Target="../media/image257.png"/><Relationship Id="rId4" Type="http://schemas.openxmlformats.org/officeDocument/2006/relationships/tags" Target="../tags/tag98.xml"/><Relationship Id="rId9" Type="http://schemas.openxmlformats.org/officeDocument/2006/relationships/image" Target="../media/image256.svg"/><Relationship Id="rId14" Type="http://schemas.openxmlformats.org/officeDocument/2006/relationships/image" Target="../media/image26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5.svg"/><Relationship Id="rId13" Type="http://schemas.openxmlformats.org/officeDocument/2006/relationships/image" Target="../media/image261.png"/><Relationship Id="rId3" Type="http://schemas.openxmlformats.org/officeDocument/2006/relationships/tags" Target="../tags/tag102.xml"/><Relationship Id="rId7" Type="http://schemas.openxmlformats.org/officeDocument/2006/relationships/image" Target="../media/image264.png"/><Relationship Id="rId12" Type="http://schemas.openxmlformats.org/officeDocument/2006/relationships/image" Target="../media/image260.svg"/><Relationship Id="rId2" Type="http://schemas.openxmlformats.org/officeDocument/2006/relationships/tags" Target="../tags/tag101.xml"/><Relationship Id="rId16" Type="http://schemas.openxmlformats.org/officeDocument/2006/relationships/image" Target="../media/image263.png"/><Relationship Id="rId1" Type="http://schemas.openxmlformats.org/officeDocument/2006/relationships/tags" Target="../tags/tag100.xml"/><Relationship Id="rId6" Type="http://schemas.openxmlformats.org/officeDocument/2006/relationships/slideLayout" Target="../slideLayouts/slideLayout53.xml"/><Relationship Id="rId11" Type="http://schemas.openxmlformats.org/officeDocument/2006/relationships/image" Target="../media/image259.png"/><Relationship Id="rId5" Type="http://schemas.openxmlformats.org/officeDocument/2006/relationships/tags" Target="../tags/tag104.xml"/><Relationship Id="rId15" Type="http://schemas.openxmlformats.org/officeDocument/2006/relationships/image" Target="../media/image48.emf"/><Relationship Id="rId10" Type="http://schemas.openxmlformats.org/officeDocument/2006/relationships/image" Target="../media/image267.svg"/><Relationship Id="rId4" Type="http://schemas.openxmlformats.org/officeDocument/2006/relationships/tags" Target="../tags/tag103.xml"/><Relationship Id="rId9" Type="http://schemas.openxmlformats.org/officeDocument/2006/relationships/image" Target="../media/image266.png"/><Relationship Id="rId14" Type="http://schemas.openxmlformats.org/officeDocument/2006/relationships/image" Target="../media/image262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9.svg"/><Relationship Id="rId13" Type="http://schemas.openxmlformats.org/officeDocument/2006/relationships/image" Target="../media/image261.png"/><Relationship Id="rId3" Type="http://schemas.openxmlformats.org/officeDocument/2006/relationships/tags" Target="../tags/tag107.xml"/><Relationship Id="rId7" Type="http://schemas.openxmlformats.org/officeDocument/2006/relationships/image" Target="../media/image268.png"/><Relationship Id="rId12" Type="http://schemas.openxmlformats.org/officeDocument/2006/relationships/image" Target="../media/image260.svg"/><Relationship Id="rId2" Type="http://schemas.openxmlformats.org/officeDocument/2006/relationships/tags" Target="../tags/tag106.xml"/><Relationship Id="rId16" Type="http://schemas.openxmlformats.org/officeDocument/2006/relationships/image" Target="../media/image272.jpeg"/><Relationship Id="rId1" Type="http://schemas.openxmlformats.org/officeDocument/2006/relationships/tags" Target="../tags/tag105.xml"/><Relationship Id="rId6" Type="http://schemas.openxmlformats.org/officeDocument/2006/relationships/slideLayout" Target="../slideLayouts/slideLayout53.xml"/><Relationship Id="rId11" Type="http://schemas.openxmlformats.org/officeDocument/2006/relationships/image" Target="../media/image259.png"/><Relationship Id="rId5" Type="http://schemas.openxmlformats.org/officeDocument/2006/relationships/tags" Target="../tags/tag109.xml"/><Relationship Id="rId15" Type="http://schemas.openxmlformats.org/officeDocument/2006/relationships/image" Target="../media/image48.emf"/><Relationship Id="rId10" Type="http://schemas.openxmlformats.org/officeDocument/2006/relationships/image" Target="../media/image271.svg"/><Relationship Id="rId4" Type="http://schemas.openxmlformats.org/officeDocument/2006/relationships/tags" Target="../tags/tag108.xml"/><Relationship Id="rId9" Type="http://schemas.openxmlformats.org/officeDocument/2006/relationships/image" Target="../media/image270.png"/><Relationship Id="rId14" Type="http://schemas.openxmlformats.org/officeDocument/2006/relationships/image" Target="../media/image262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275.png"/><Relationship Id="rId18" Type="http://schemas.openxmlformats.org/officeDocument/2006/relationships/image" Target="../media/image280.svg"/><Relationship Id="rId3" Type="http://schemas.openxmlformats.org/officeDocument/2006/relationships/tags" Target="../tags/tag112.xml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48.emf"/><Relationship Id="rId17" Type="http://schemas.openxmlformats.org/officeDocument/2006/relationships/image" Target="../media/image279.png"/><Relationship Id="rId2" Type="http://schemas.openxmlformats.org/officeDocument/2006/relationships/tags" Target="../tags/tag111.xml"/><Relationship Id="rId16" Type="http://schemas.openxmlformats.org/officeDocument/2006/relationships/image" Target="../media/image278.svg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image" Target="../media/image274.svg"/><Relationship Id="rId5" Type="http://schemas.openxmlformats.org/officeDocument/2006/relationships/tags" Target="../tags/tag114.xml"/><Relationship Id="rId15" Type="http://schemas.openxmlformats.org/officeDocument/2006/relationships/image" Target="../media/image277.png"/><Relationship Id="rId10" Type="http://schemas.openxmlformats.org/officeDocument/2006/relationships/image" Target="../media/image273.png"/><Relationship Id="rId4" Type="http://schemas.openxmlformats.org/officeDocument/2006/relationships/tags" Target="../tags/tag113.xml"/><Relationship Id="rId9" Type="http://schemas.openxmlformats.org/officeDocument/2006/relationships/image" Target="../media/image144.emf"/><Relationship Id="rId14" Type="http://schemas.openxmlformats.org/officeDocument/2006/relationships/image" Target="../media/image276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67.xml"/><Relationship Id="rId7" Type="http://schemas.openxmlformats.org/officeDocument/2006/relationships/image" Target="../media/image281.jpe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6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5.xml"/><Relationship Id="rId6" Type="http://schemas.openxmlformats.org/officeDocument/2006/relationships/image" Target="../media/image128.png"/><Relationship Id="rId5" Type="http://schemas.openxmlformats.org/officeDocument/2006/relationships/image" Target="../media/image60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svg"/><Relationship Id="rId13" Type="http://schemas.openxmlformats.org/officeDocument/2006/relationships/image" Target="../media/image48.emf"/><Relationship Id="rId3" Type="http://schemas.openxmlformats.org/officeDocument/2006/relationships/tags" Target="../tags/tag8.xml"/><Relationship Id="rId7" Type="http://schemas.openxmlformats.org/officeDocument/2006/relationships/image" Target="../media/image130.png"/><Relationship Id="rId12" Type="http://schemas.openxmlformats.org/officeDocument/2006/relationships/image" Target="../media/image135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53.xml"/><Relationship Id="rId11" Type="http://schemas.openxmlformats.org/officeDocument/2006/relationships/image" Target="../media/image134.png"/><Relationship Id="rId5" Type="http://schemas.openxmlformats.org/officeDocument/2006/relationships/tags" Target="../tags/tag10.xml"/><Relationship Id="rId15" Type="http://schemas.openxmlformats.org/officeDocument/2006/relationships/image" Target="../media/image137.svg"/><Relationship Id="rId10" Type="http://schemas.openxmlformats.org/officeDocument/2006/relationships/image" Target="../media/image133.svg"/><Relationship Id="rId4" Type="http://schemas.openxmlformats.org/officeDocument/2006/relationships/tags" Target="../tags/tag9.xml"/><Relationship Id="rId9" Type="http://schemas.openxmlformats.org/officeDocument/2006/relationships/image" Target="../media/image132.png"/><Relationship Id="rId14" Type="http://schemas.openxmlformats.org/officeDocument/2006/relationships/image" Target="../media/image13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svg"/><Relationship Id="rId3" Type="http://schemas.openxmlformats.org/officeDocument/2006/relationships/tags" Target="../tags/tag13.xml"/><Relationship Id="rId7" Type="http://schemas.openxmlformats.org/officeDocument/2006/relationships/image" Target="../media/image140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39.svg"/><Relationship Id="rId5" Type="http://schemas.openxmlformats.org/officeDocument/2006/relationships/image" Target="../media/image138.png"/><Relationship Id="rId10" Type="http://schemas.openxmlformats.org/officeDocument/2006/relationships/image" Target="../media/image128.pn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14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emf"/><Relationship Id="rId13" Type="http://schemas.openxmlformats.org/officeDocument/2006/relationships/image" Target="../media/image128.pn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141.sv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43.jpeg"/><Relationship Id="rId11" Type="http://schemas.openxmlformats.org/officeDocument/2006/relationships/image" Target="../media/image140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46.svg"/><Relationship Id="rId4" Type="http://schemas.openxmlformats.org/officeDocument/2006/relationships/tags" Target="../tags/tag17.xml"/><Relationship Id="rId9" Type="http://schemas.openxmlformats.org/officeDocument/2006/relationships/image" Target="../media/image14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48.emf"/><Relationship Id="rId18" Type="http://schemas.openxmlformats.org/officeDocument/2006/relationships/image" Target="../media/image151.png"/><Relationship Id="rId26" Type="http://schemas.openxmlformats.org/officeDocument/2006/relationships/image" Target="../media/image159.png"/><Relationship Id="rId3" Type="http://schemas.openxmlformats.org/officeDocument/2006/relationships/tags" Target="../tags/tag20.xml"/><Relationship Id="rId21" Type="http://schemas.openxmlformats.org/officeDocument/2006/relationships/image" Target="../media/image154.svg"/><Relationship Id="rId7" Type="http://schemas.openxmlformats.org/officeDocument/2006/relationships/tags" Target="../tags/tag24.xml"/><Relationship Id="rId12" Type="http://schemas.openxmlformats.org/officeDocument/2006/relationships/image" Target="../media/image60.emf"/><Relationship Id="rId17" Type="http://schemas.openxmlformats.org/officeDocument/2006/relationships/image" Target="../media/image150.svg"/><Relationship Id="rId25" Type="http://schemas.openxmlformats.org/officeDocument/2006/relationships/image" Target="../media/image158.svg"/><Relationship Id="rId2" Type="http://schemas.openxmlformats.org/officeDocument/2006/relationships/tags" Target="../tags/tag19.xml"/><Relationship Id="rId16" Type="http://schemas.openxmlformats.org/officeDocument/2006/relationships/image" Target="../media/image149.png"/><Relationship Id="rId20" Type="http://schemas.openxmlformats.org/officeDocument/2006/relationships/image" Target="../media/image153.pn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oleObject" Target="../embeddings/oleObject5.bin"/><Relationship Id="rId24" Type="http://schemas.openxmlformats.org/officeDocument/2006/relationships/image" Target="../media/image157.png"/><Relationship Id="rId5" Type="http://schemas.openxmlformats.org/officeDocument/2006/relationships/tags" Target="../tags/tag22.xml"/><Relationship Id="rId15" Type="http://schemas.openxmlformats.org/officeDocument/2006/relationships/image" Target="../media/image148.svg"/><Relationship Id="rId23" Type="http://schemas.openxmlformats.org/officeDocument/2006/relationships/image" Target="../media/image156.svg"/><Relationship Id="rId10" Type="http://schemas.openxmlformats.org/officeDocument/2006/relationships/slideLayout" Target="../slideLayouts/slideLayout51.xml"/><Relationship Id="rId19" Type="http://schemas.openxmlformats.org/officeDocument/2006/relationships/image" Target="../media/image152.sv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147.png"/><Relationship Id="rId22" Type="http://schemas.openxmlformats.org/officeDocument/2006/relationships/image" Target="../media/image155.png"/><Relationship Id="rId27" Type="http://schemas.openxmlformats.org/officeDocument/2006/relationships/image" Target="../media/image160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161.png"/><Relationship Id="rId18" Type="http://schemas.openxmlformats.org/officeDocument/2006/relationships/image" Target="../media/image166.svg"/><Relationship Id="rId3" Type="http://schemas.openxmlformats.org/officeDocument/2006/relationships/tags" Target="../tags/tag29.xml"/><Relationship Id="rId21" Type="http://schemas.openxmlformats.org/officeDocument/2006/relationships/image" Target="../media/image169.png"/><Relationship Id="rId7" Type="http://schemas.openxmlformats.org/officeDocument/2006/relationships/tags" Target="../tags/tag33.xml"/><Relationship Id="rId12" Type="http://schemas.openxmlformats.org/officeDocument/2006/relationships/image" Target="../media/image48.emf"/><Relationship Id="rId17" Type="http://schemas.openxmlformats.org/officeDocument/2006/relationships/image" Target="../media/image165.png"/><Relationship Id="rId25" Type="http://schemas.openxmlformats.org/officeDocument/2006/relationships/image" Target="../media/image173.png"/><Relationship Id="rId2" Type="http://schemas.openxmlformats.org/officeDocument/2006/relationships/tags" Target="../tags/tag28.xml"/><Relationship Id="rId16" Type="http://schemas.openxmlformats.org/officeDocument/2006/relationships/image" Target="../media/image164.svg"/><Relationship Id="rId20" Type="http://schemas.openxmlformats.org/officeDocument/2006/relationships/image" Target="../media/image168.svg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60.emf"/><Relationship Id="rId24" Type="http://schemas.openxmlformats.org/officeDocument/2006/relationships/image" Target="../media/image172.svg"/><Relationship Id="rId5" Type="http://schemas.openxmlformats.org/officeDocument/2006/relationships/tags" Target="../tags/tag31.xml"/><Relationship Id="rId15" Type="http://schemas.openxmlformats.org/officeDocument/2006/relationships/image" Target="../media/image163.png"/><Relationship Id="rId23" Type="http://schemas.openxmlformats.org/officeDocument/2006/relationships/image" Target="../media/image171.png"/><Relationship Id="rId10" Type="http://schemas.openxmlformats.org/officeDocument/2006/relationships/oleObject" Target="../embeddings/oleObject5.bin"/><Relationship Id="rId19" Type="http://schemas.openxmlformats.org/officeDocument/2006/relationships/image" Target="../media/image167.png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162.svg"/><Relationship Id="rId22" Type="http://schemas.openxmlformats.org/officeDocument/2006/relationships/image" Target="../media/image17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66B818DA-45B8-DEB3-9D69-38C4B5E7804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2A8D0FD3-4FE3-13AD-0227-1AF56EC6AF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4" name="Frihåndsform: figur 23">
            <a:extLst>
              <a:ext uri="{FF2B5EF4-FFF2-40B4-BE49-F238E27FC236}">
                <a16:creationId xmlns:a16="http://schemas.microsoft.com/office/drawing/2014/main" id="{8843C3AD-9B27-A0DF-4C88-6C9DA1DFFF35}"/>
              </a:ext>
            </a:extLst>
          </p:cNvPr>
          <p:cNvSpPr/>
          <p:nvPr/>
        </p:nvSpPr>
        <p:spPr>
          <a:xfrm>
            <a:off x="6096000" y="0"/>
            <a:ext cx="6096000" cy="5717750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2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31" name="Tittel 4">
            <a:extLst>
              <a:ext uri="{FF2B5EF4-FFF2-40B4-BE49-F238E27FC236}">
                <a16:creationId xmlns:a16="http://schemas.microsoft.com/office/drawing/2014/main" id="{51398F78-5BEE-F9B0-E338-E57699A4FC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797" y="1916478"/>
            <a:ext cx="5790407" cy="2881945"/>
          </a:xfrm>
        </p:spPr>
        <p:txBody>
          <a:bodyPr vert="horz"/>
          <a:lstStyle/>
          <a:p>
            <a:pPr>
              <a:lnSpc>
                <a:spcPts val="5400"/>
              </a:lnSpc>
            </a:pPr>
            <a:r>
              <a:rPr lang="nb-NO" sz="4000" dirty="0">
                <a:latin typeface="SpareBank 1 Title "/>
              </a:rPr>
              <a:t>SpareBank 1s Nasjonale </a:t>
            </a:r>
            <a:br>
              <a:rPr lang="nb-NO" sz="4000" dirty="0">
                <a:latin typeface="SpareBank 1 Title "/>
              </a:rPr>
            </a:br>
            <a:r>
              <a:rPr lang="nb-NO" sz="4000" dirty="0">
                <a:latin typeface="SpareBank 1 Title "/>
              </a:rPr>
              <a:t>Bærekraftsbarometer 2024 </a:t>
            </a:r>
            <a:br>
              <a:rPr lang="nb-NO" sz="4000" dirty="0">
                <a:latin typeface="SpareBank 1 Title "/>
              </a:rPr>
            </a:br>
            <a:r>
              <a:rPr lang="nb-NO" sz="2000" i="1" dirty="0">
                <a:latin typeface="SpareBank 1 Title "/>
              </a:rPr>
              <a:t>Kommuneundersøkelsen</a:t>
            </a:r>
            <a:endParaRPr lang="nb-NO" sz="4000" i="1" dirty="0">
              <a:latin typeface="SpareBank 1 Title "/>
            </a:endParaRPr>
          </a:p>
        </p:txBody>
      </p:sp>
      <p:sp>
        <p:nvSpPr>
          <p:cNvPr id="4" name="Plassholder for tekst 4">
            <a:extLst>
              <a:ext uri="{FF2B5EF4-FFF2-40B4-BE49-F238E27FC236}">
                <a16:creationId xmlns:a16="http://schemas.microsoft.com/office/drawing/2014/main" id="{E81CA0E6-912E-DC86-FF12-4DE1DD3E8F2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5" y="6224584"/>
            <a:ext cx="1511300" cy="153988"/>
          </a:xfrm>
        </p:spPr>
        <p:txBody>
          <a:bodyPr/>
          <a:lstStyle/>
          <a:p>
            <a:r>
              <a:rPr lang="nb-NO" dirty="0"/>
              <a:t>Jan-eilert nilse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29578C2-AA04-9E57-29BF-E271D655E7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Trondheim</a:t>
            </a:r>
          </a:p>
        </p:txBody>
      </p:sp>
    </p:spTree>
    <p:extLst>
      <p:ext uri="{BB962C8B-B14F-4D97-AF65-F5344CB8AC3E}">
        <p14:creationId xmlns:p14="http://schemas.microsoft.com/office/powerpoint/2010/main" val="963761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144780" y="2076268"/>
            <a:ext cx="6096000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SpareBank 1 Title" panose="020B0500030000000000" pitchFamily="34" charset="0"/>
              </a:rPr>
              <a:t>Svar: I stor/svært stor grad (%)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F679AFDC-5EE4-4552-AE5F-D3718CC9E70B}"/>
              </a:ext>
            </a:extLst>
          </p:cNvPr>
          <p:cNvSpPr txBox="1">
            <a:spLocks/>
          </p:cNvSpPr>
          <p:nvPr/>
        </p:nvSpPr>
        <p:spPr>
          <a:xfrm>
            <a:off x="215900" y="197003"/>
            <a:ext cx="11759837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altLang="en-US" sz="3400" dirty="0"/>
              <a:t>1 av 5 kommuner er i stor grad villig til å betale mer for maskiner, utstyr og kjøretøy som reduserer bedriftens klimapåvirkning</a:t>
            </a:r>
            <a:endParaRPr lang="nb-NO" sz="3400" dirty="0"/>
          </a:p>
        </p:txBody>
      </p:sp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E7560182-2081-24B9-F2AD-CC9407411123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0A25EF94-7722-9E99-3EEE-46EA65E6D0DC}"/>
              </a:ext>
            </a:extLst>
          </p:cNvPr>
          <p:cNvSpPr txBox="1"/>
          <p:nvPr/>
        </p:nvSpPr>
        <p:spPr>
          <a:xfrm>
            <a:off x="6043104" y="5391305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37D9D1C-759F-0976-D664-604C890AE56D}"/>
              </a:ext>
            </a:extLst>
          </p:cNvPr>
          <p:cNvSpPr txBox="1"/>
          <p:nvPr/>
        </p:nvSpPr>
        <p:spPr>
          <a:xfrm>
            <a:off x="9623616" y="5391305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10" name="Grunt object 9e752093049d33c70b0ac42a08237867-svg">
            <a:extLst>
              <a:ext uri="{FF2B5EF4-FFF2-40B4-BE49-F238E27FC236}">
                <a16:creationId xmlns:a16="http://schemas.microsoft.com/office/drawing/2014/main" id="{22027185-3E3A-05B6-40CC-3EE95AAAA2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91605" y="3917043"/>
            <a:ext cx="3619638" cy="1362838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c146b185388532b924256af54a68b79a-svg">
            <a:extLst>
              <a:ext uri="{FF2B5EF4-FFF2-40B4-BE49-F238E27FC236}">
                <a16:creationId xmlns:a16="http://schemas.microsoft.com/office/drawing/2014/main" id="{DEB173EF-C75E-DEE2-F570-FE824452C7F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555847" y="3761182"/>
            <a:ext cx="3610930" cy="1630123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Grunt object a644e72238ca6a4ca5fb4ce43f344b4f-svg">
            <a:extLst>
              <a:ext uri="{FF2B5EF4-FFF2-40B4-BE49-F238E27FC236}">
                <a16:creationId xmlns:a16="http://schemas.microsoft.com/office/drawing/2014/main" id="{FA2C65F3-478E-29CC-CD86-EDB44BF4F0D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21807" y="3761183"/>
            <a:ext cx="2952024" cy="1492963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Grunt object 5f2250403ce6a6c84d8197beedec9b81-svg">
            <a:extLst>
              <a:ext uri="{FF2B5EF4-FFF2-40B4-BE49-F238E27FC236}">
                <a16:creationId xmlns:a16="http://schemas.microsoft.com/office/drawing/2014/main" id="{F92E178B-41F2-9AF5-C104-0D831B99151D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94780" y="5668304"/>
            <a:ext cx="1353859" cy="258354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9607DFE4-15A5-50E4-BE85-B5F19ED0323B}"/>
              </a:ext>
            </a:extLst>
          </p:cNvPr>
          <p:cNvSpPr txBox="1">
            <a:spLocks/>
          </p:cNvSpPr>
          <p:nvPr/>
        </p:nvSpPr>
        <p:spPr>
          <a:xfrm>
            <a:off x="215900" y="1522270"/>
            <a:ext cx="898005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</a:pPr>
            <a:r>
              <a:rPr lang="nb-NO" sz="1800" dirty="0"/>
              <a:t>Spørsmål: </a:t>
            </a:r>
            <a:r>
              <a:rPr lang="nb-NO" altLang="en-US" sz="1800" dirty="0"/>
              <a:t>I hvilken grad er kommunen villig til å betale mer for et produkt eller en tjeneste hvis det bidrar til å redusere kommunens klimapåvirkning?</a:t>
            </a:r>
            <a:endParaRPr lang="nb-NO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53070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4" name="Grunt object b4bd88af23fef57f99fdcc1c2c31194b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7439" y="4079867"/>
            <a:ext cx="2689225" cy="1447320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07439" y="1977155"/>
            <a:ext cx="2682875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Ja (%)</a:t>
            </a:r>
          </a:p>
        </p:txBody>
      </p:sp>
      <p:sp>
        <p:nvSpPr>
          <p:cNvPr id="10" name="Grunt object 2beaa341f6682b0e7f80d1e2ee6bb7f4-svg">
            <a:extLst>
              <a:ext uri="{FF2B5EF4-FFF2-40B4-BE49-F238E27FC236}">
                <a16:creationId xmlns:a16="http://schemas.microsoft.com/office/drawing/2014/main" id="{5A39F80C-A7BE-73DA-FB3A-02FDDD35B42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573074" y="3885298"/>
            <a:ext cx="3958525" cy="1824769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Grunt object 354b5ee8320b71cc78852c0c1bff1fea-svg">
            <a:extLst>
              <a:ext uri="{FF2B5EF4-FFF2-40B4-BE49-F238E27FC236}">
                <a16:creationId xmlns:a16="http://schemas.microsoft.com/office/drawing/2014/main" id="{2E50FCCF-E717-BD12-9F17-43DBF87026C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600061" y="2836441"/>
            <a:ext cx="1574799" cy="206375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Frihåndsform: figur 15">
            <a:extLst>
              <a:ext uri="{FF2B5EF4-FFF2-40B4-BE49-F238E27FC236}">
                <a16:creationId xmlns:a16="http://schemas.microsoft.com/office/drawing/2014/main" id="{1CBF09F5-F615-D566-403D-FCDA6E3C6B50}"/>
              </a:ext>
            </a:extLst>
          </p:cNvPr>
          <p:cNvSpPr/>
          <p:nvPr/>
        </p:nvSpPr>
        <p:spPr>
          <a:xfrm>
            <a:off x="9393382" y="-1"/>
            <a:ext cx="2798618" cy="2345455"/>
          </a:xfrm>
          <a:custGeom>
            <a:avLst/>
            <a:gdLst>
              <a:gd name="connsiteX0" fmla="*/ 608527 w 4243671"/>
              <a:gd name="connsiteY0" fmla="*/ 0 h 3818709"/>
              <a:gd name="connsiteX1" fmla="*/ 4243671 w 4243671"/>
              <a:gd name="connsiteY1" fmla="*/ 0 h 3818709"/>
              <a:gd name="connsiteX2" fmla="*/ 4243671 w 4243671"/>
              <a:gd name="connsiteY2" fmla="*/ 3052599 h 3818709"/>
              <a:gd name="connsiteX3" fmla="*/ 4154915 w 4243671"/>
              <a:gd name="connsiteY3" fmla="*/ 3144904 h 3818709"/>
              <a:gd name="connsiteX4" fmla="*/ 2433893 w 4243671"/>
              <a:gd name="connsiteY4" fmla="*/ 3818709 h 3818709"/>
              <a:gd name="connsiteX5" fmla="*/ 0 w 4243671"/>
              <a:gd name="connsiteY5" fmla="*/ 1518194 h 3818709"/>
              <a:gd name="connsiteX6" fmla="*/ 555783 w 4243671"/>
              <a:gd name="connsiteY6" fmla="*/ 54853 h 3818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3671" h="3818709">
                <a:moveTo>
                  <a:pt x="608527" y="0"/>
                </a:moveTo>
                <a:lnTo>
                  <a:pt x="4243671" y="0"/>
                </a:lnTo>
                <a:lnTo>
                  <a:pt x="4243671" y="3052599"/>
                </a:lnTo>
                <a:lnTo>
                  <a:pt x="4154915" y="3144904"/>
                </a:lnTo>
                <a:cubicBezTo>
                  <a:pt x="3714467" y="3561215"/>
                  <a:pt x="3105994" y="3818709"/>
                  <a:pt x="2433893" y="3818709"/>
                </a:cubicBezTo>
                <a:cubicBezTo>
                  <a:pt x="1089691" y="3818709"/>
                  <a:pt x="0" y="2788733"/>
                  <a:pt x="0" y="1518194"/>
                </a:cubicBezTo>
                <a:cubicBezTo>
                  <a:pt x="0" y="962333"/>
                  <a:pt x="208574" y="452518"/>
                  <a:pt x="555783" y="54853"/>
                </a:cubicBezTo>
                <a:close/>
              </a:path>
            </a:pathLst>
          </a:custGeom>
          <a:blipFill>
            <a:blip r:embed="rId1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17" name="Plassholder for bunntekst 3">
            <a:extLst>
              <a:ext uri="{FF2B5EF4-FFF2-40B4-BE49-F238E27FC236}">
                <a16:creationId xmlns:a16="http://schemas.microsoft.com/office/drawing/2014/main" id="{62B84810-20E4-88C4-ED60-4E61191568DF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3D2079A9-4C2E-D9CB-5D24-927F0618020D}"/>
              </a:ext>
            </a:extLst>
          </p:cNvPr>
          <p:cNvSpPr txBox="1">
            <a:spLocks/>
          </p:cNvSpPr>
          <p:nvPr/>
        </p:nvSpPr>
        <p:spPr>
          <a:xfrm>
            <a:off x="410614" y="326113"/>
            <a:ext cx="9421283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altLang="en-US" sz="3400" dirty="0"/>
              <a:t>4 av 10 kommuner har et klimaregnskap. Kommunens størrelse har betydning</a:t>
            </a:r>
            <a:endParaRPr lang="nb-NO" sz="3400" dirty="0"/>
          </a:p>
        </p:txBody>
      </p:sp>
      <p:sp>
        <p:nvSpPr>
          <p:cNvPr id="23" name="Grunt object f233fd8bac802598ab52fa927576be46-svg">
            <a:extLst>
              <a:ext uri="{FF2B5EF4-FFF2-40B4-BE49-F238E27FC236}">
                <a16:creationId xmlns:a16="http://schemas.microsoft.com/office/drawing/2014/main" id="{1167BA68-0009-5788-F70A-070A88A54ED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273817" y="3027902"/>
            <a:ext cx="3200879" cy="2682165"/>
          </a:xfrm>
          <a:prstGeom prst="rect">
            <a:avLst/>
          </a:prstGeom>
          <a:blipFill dpi="0" rotWithShape="1"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Grunt object 3d8135286e5769aef4d87e076b109364-svg">
            <a:extLst>
              <a:ext uri="{FF2B5EF4-FFF2-40B4-BE49-F238E27FC236}">
                <a16:creationId xmlns:a16="http://schemas.microsoft.com/office/drawing/2014/main" id="{F533F726-5EF3-7CBB-9B76-59078B94EEDB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00805" y="2836441"/>
            <a:ext cx="1574799" cy="206375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6286E50-682D-2F31-F342-2E8025D262CE}"/>
              </a:ext>
            </a:extLst>
          </p:cNvPr>
          <p:cNvSpPr txBox="1">
            <a:spLocks/>
          </p:cNvSpPr>
          <p:nvPr/>
        </p:nvSpPr>
        <p:spPr>
          <a:xfrm>
            <a:off x="490559" y="1550066"/>
            <a:ext cx="7015389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</a:pPr>
            <a:r>
              <a:rPr lang="nb-NO" sz="1800" dirty="0"/>
              <a:t>Spørsmål: </a:t>
            </a:r>
            <a:r>
              <a:rPr lang="nb-NO" altLang="en-US" sz="1800" dirty="0"/>
              <a:t>Har din kommune et klimaregnskap?</a:t>
            </a:r>
            <a:endParaRPr lang="nb-NO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31280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: avrundede hjørner diagonalt 15">
            <a:extLst>
              <a:ext uri="{FF2B5EF4-FFF2-40B4-BE49-F238E27FC236}">
                <a16:creationId xmlns:a16="http://schemas.microsoft.com/office/drawing/2014/main" id="{4863B0D7-0DCE-F6BA-8C00-45CC5804699C}"/>
              </a:ext>
            </a:extLst>
          </p:cNvPr>
          <p:cNvSpPr/>
          <p:nvPr/>
        </p:nvSpPr>
        <p:spPr>
          <a:xfrm>
            <a:off x="626287" y="1712476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Strategi</a:t>
            </a:r>
          </a:p>
        </p:txBody>
      </p:sp>
      <p:sp>
        <p:nvSpPr>
          <p:cNvPr id="18" name="Rektangel: avrundede hjørner diagonalt 17">
            <a:extLst>
              <a:ext uri="{FF2B5EF4-FFF2-40B4-BE49-F238E27FC236}">
                <a16:creationId xmlns:a16="http://schemas.microsoft.com/office/drawing/2014/main" id="{EDDFE4F8-336D-47E3-6D24-516DEAB3FEB9}"/>
              </a:ext>
            </a:extLst>
          </p:cNvPr>
          <p:cNvSpPr/>
          <p:nvPr/>
        </p:nvSpPr>
        <p:spPr>
          <a:xfrm>
            <a:off x="626287" y="2685387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Innovasjon, kunder og marked</a:t>
            </a:r>
          </a:p>
        </p:txBody>
      </p:sp>
      <p:sp>
        <p:nvSpPr>
          <p:cNvPr id="19" name="Rektangel: avrundede hjørner diagonalt 18">
            <a:extLst>
              <a:ext uri="{FF2B5EF4-FFF2-40B4-BE49-F238E27FC236}">
                <a16:creationId xmlns:a16="http://schemas.microsoft.com/office/drawing/2014/main" id="{C912209D-AC8B-C81D-FABD-7AB5C9EF0892}"/>
              </a:ext>
            </a:extLst>
          </p:cNvPr>
          <p:cNvSpPr/>
          <p:nvPr/>
        </p:nvSpPr>
        <p:spPr>
          <a:xfrm>
            <a:off x="626287" y="3658298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Kompetanse</a:t>
            </a:r>
          </a:p>
        </p:txBody>
      </p:sp>
      <p:sp>
        <p:nvSpPr>
          <p:cNvPr id="20" name="Rektangel: avrundede hjørner diagonalt 19">
            <a:extLst>
              <a:ext uri="{FF2B5EF4-FFF2-40B4-BE49-F238E27FC236}">
                <a16:creationId xmlns:a16="http://schemas.microsoft.com/office/drawing/2014/main" id="{17D22BF5-A214-1915-566E-B058C54CB6AE}"/>
              </a:ext>
            </a:extLst>
          </p:cNvPr>
          <p:cNvSpPr/>
          <p:nvPr/>
        </p:nvSpPr>
        <p:spPr>
          <a:xfrm>
            <a:off x="626287" y="4631209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Fremtid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ADD11C62-9922-08BA-A996-937B4BB099E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3" name="Frihåndsform: figur 2">
            <a:extLst>
              <a:ext uri="{FF2B5EF4-FFF2-40B4-BE49-F238E27FC236}">
                <a16:creationId xmlns:a16="http://schemas.microsoft.com/office/drawing/2014/main" id="{F0D729B4-C70C-06F3-EA68-B94DA708F02D}"/>
              </a:ext>
            </a:extLst>
          </p:cNvPr>
          <p:cNvSpPr/>
          <p:nvPr/>
        </p:nvSpPr>
        <p:spPr>
          <a:xfrm>
            <a:off x="7536546" y="0"/>
            <a:ext cx="4655454" cy="4354951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3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00361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307E774-CE7A-E9A8-4E47-7DA7187308C4}"/>
              </a:ext>
            </a:extLst>
          </p:cNvPr>
          <p:cNvSpPr/>
          <p:nvPr/>
        </p:nvSpPr>
        <p:spPr>
          <a:xfrm>
            <a:off x="5696560" y="2239861"/>
            <a:ext cx="5485039" cy="317103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67732C2E-EF20-91CD-9FB6-9F01AB94D6A3}"/>
              </a:ext>
            </a:extLst>
          </p:cNvPr>
          <p:cNvSpPr txBox="1"/>
          <p:nvPr/>
        </p:nvSpPr>
        <p:spPr>
          <a:xfrm>
            <a:off x="5860109" y="2326546"/>
            <a:ext cx="2222488" cy="33855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nb-NO" sz="1600" b="1" dirty="0">
                <a:solidFill>
                  <a:schemeClr val="accent2"/>
                </a:solidFill>
                <a:latin typeface="SpareBank 1 Medium" panose="020B0500030000000000" pitchFamily="34" charset="0"/>
              </a:rPr>
              <a:t>Svar: nei/vet ikke (%)</a:t>
            </a:r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33F3AEA-B1D4-13F7-C010-53E4A378A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12" y="308295"/>
            <a:ext cx="11697133" cy="553998"/>
          </a:xfrm>
        </p:spPr>
        <p:txBody>
          <a:bodyPr vert="horz"/>
          <a:lstStyle/>
          <a:p>
            <a:pPr>
              <a:spcAft>
                <a:spcPct val="0"/>
              </a:spcAft>
            </a:pPr>
            <a:r>
              <a:rPr lang="nb-NO" sz="3000" dirty="0"/>
              <a:t>Flertallet av kommunene i Midt-Norge har gjort endringer og/eller planlegger endringer i egen tjenestemodell på grunn av klimaendringer</a:t>
            </a:r>
            <a:br>
              <a:rPr lang="nb-NO" sz="3000" dirty="0"/>
            </a:br>
            <a:endParaRPr lang="nb-NO" sz="3000" dirty="0"/>
          </a:p>
        </p:txBody>
      </p:sp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1818b512c21ce0a73e95bce189240546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66750" y="2892425"/>
            <a:ext cx="3521076" cy="2742565"/>
          </a:xfrm>
          <a:prstGeom prst="rect">
            <a:avLst/>
          </a:prstGeom>
          <a:blipFill dpi="0"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03e140afe7333f5934e39799556fafa1-svg">
            <a:extLst>
              <a:ext uri="{FF2B5EF4-FFF2-40B4-BE49-F238E27FC236}">
                <a16:creationId xmlns:a16="http://schemas.microsoft.com/office/drawing/2014/main" id="{4E627454-1290-C199-3921-2BD8D9AC22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69925" y="5903670"/>
            <a:ext cx="1409700" cy="342900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Grunt object bedb8b4cb417164ef99245a164344efc-svg">
            <a:extLst>
              <a:ext uri="{FF2B5EF4-FFF2-40B4-BE49-F238E27FC236}">
                <a16:creationId xmlns:a16="http://schemas.microsoft.com/office/drawing/2014/main" id="{974DCE5A-8877-174D-9CEE-C73FE29440C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092826" y="3299996"/>
            <a:ext cx="1989771" cy="1853202"/>
          </a:xfrm>
          <a:prstGeom prst="rect">
            <a:avLst/>
          </a:prstGeom>
          <a:blipFill dpi="0" rotWithShape="1"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Grunt object 00000000000000000000000000000000-svg">
            <a:extLst>
              <a:ext uri="{FF2B5EF4-FFF2-40B4-BE49-F238E27FC236}">
                <a16:creationId xmlns:a16="http://schemas.microsoft.com/office/drawing/2014/main" id="{A109EACD-E60E-06DE-3526-79138618E68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096000" y="1926590"/>
            <a:ext cx="4572000" cy="320675"/>
          </a:xfrm>
          <a:prstGeom prst="rect">
            <a:avLst/>
          </a:prstGeom>
          <a:blipFill dpi="0" rotWithShape="1"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unntekst 3">
            <a:extLst>
              <a:ext uri="{FF2B5EF4-FFF2-40B4-BE49-F238E27FC236}">
                <a16:creationId xmlns:a16="http://schemas.microsoft.com/office/drawing/2014/main" id="{3B5AF3B6-B7CD-CBD3-57F7-E34E120366A8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8" name="Grunt object 2136291b21e8ec93fafe6fc8103d7f2e-svg">
            <a:extLst>
              <a:ext uri="{FF2B5EF4-FFF2-40B4-BE49-F238E27FC236}">
                <a16:creationId xmlns:a16="http://schemas.microsoft.com/office/drawing/2014/main" id="{2759966A-B86B-7978-D120-D5356211D93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491713" y="3266440"/>
            <a:ext cx="2367614" cy="1886758"/>
          </a:xfrm>
          <a:prstGeom prst="rect">
            <a:avLst/>
          </a:prstGeom>
          <a:blipFill dpi="0" rotWithShape="1"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2" name="Kobling: vinkel 11">
            <a:extLst>
              <a:ext uri="{FF2B5EF4-FFF2-40B4-BE49-F238E27FC236}">
                <a16:creationId xmlns:a16="http://schemas.microsoft.com/office/drawing/2014/main" id="{6916EECB-566D-F41B-48D6-490F26E846E1}"/>
              </a:ext>
            </a:extLst>
          </p:cNvPr>
          <p:cNvCxnSpPr>
            <a:cxnSpLocks/>
          </p:cNvCxnSpPr>
          <p:nvPr/>
        </p:nvCxnSpPr>
        <p:spPr>
          <a:xfrm flipV="1">
            <a:off x="3598877" y="3674378"/>
            <a:ext cx="1908076" cy="151002"/>
          </a:xfrm>
          <a:prstGeom prst="bentConnector3">
            <a:avLst>
              <a:gd name="adj1" fmla="val 319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tt linje 16">
            <a:extLst>
              <a:ext uri="{FF2B5EF4-FFF2-40B4-BE49-F238E27FC236}">
                <a16:creationId xmlns:a16="http://schemas.microsoft.com/office/drawing/2014/main" id="{AE13E3DD-6EA5-9935-BE65-6B8FFC5965D3}"/>
              </a:ext>
            </a:extLst>
          </p:cNvPr>
          <p:cNvCxnSpPr>
            <a:cxnSpLocks/>
          </p:cNvCxnSpPr>
          <p:nvPr/>
        </p:nvCxnSpPr>
        <p:spPr>
          <a:xfrm>
            <a:off x="8272204" y="2597605"/>
            <a:ext cx="1" cy="255559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tel 1">
            <a:extLst>
              <a:ext uri="{FF2B5EF4-FFF2-40B4-BE49-F238E27FC236}">
                <a16:creationId xmlns:a16="http://schemas.microsoft.com/office/drawing/2014/main" id="{B909A6F8-77F6-6EF2-35C3-4E25223C4D38}"/>
              </a:ext>
            </a:extLst>
          </p:cNvPr>
          <p:cNvSpPr txBox="1">
            <a:spLocks/>
          </p:cNvSpPr>
          <p:nvPr/>
        </p:nvSpPr>
        <p:spPr>
          <a:xfrm>
            <a:off x="366712" y="1514847"/>
            <a:ext cx="7610339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</a:pPr>
            <a:r>
              <a:rPr lang="nb-NO" sz="1800" dirty="0"/>
              <a:t>Spørsmål:  </a:t>
            </a:r>
            <a:r>
              <a:rPr lang="nb-NO" altLang="en-US" sz="1800" dirty="0"/>
              <a:t>Har kommunen gjort endringer i egen tjenestemodell på grunn av klimaendringer, eller planlegger kommunen å gjøre det?</a:t>
            </a:r>
            <a:endParaRPr lang="nb-NO" sz="1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80120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33F3AEA-B1D4-13F7-C010-53E4A378A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495" y="211177"/>
            <a:ext cx="5580068" cy="553998"/>
          </a:xfrm>
        </p:spPr>
        <p:txBody>
          <a:bodyPr vert="horz"/>
          <a:lstStyle/>
          <a:p>
            <a:pPr>
              <a:spcAft>
                <a:spcPct val="0"/>
              </a:spcAft>
            </a:pPr>
            <a:r>
              <a:rPr lang="nb-NO" sz="3000" dirty="0"/>
              <a:t>Myndighetskrav er den viktigste </a:t>
            </a:r>
            <a:r>
              <a:rPr lang="nb-NO" sz="3000" b="1" dirty="0">
                <a:solidFill>
                  <a:srgbClr val="00B050"/>
                </a:solidFill>
              </a:rPr>
              <a:t>driveren</a:t>
            </a:r>
            <a:r>
              <a:rPr lang="nb-NO" sz="3000" dirty="0"/>
              <a:t> for grønn omstilling i kommunene</a:t>
            </a:r>
          </a:p>
        </p:txBody>
      </p:sp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b00cd59924dc6a7a6c0748a1b29999d7-svg">
            <a:extLst>
              <a:ext uri="{FF2B5EF4-FFF2-40B4-BE49-F238E27FC236}">
                <a16:creationId xmlns:a16="http://schemas.microsoft.com/office/drawing/2014/main" id="{3536FD6E-A4B3-D574-73B9-22685CC5C3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77495" y="1781175"/>
            <a:ext cx="5006201" cy="4413250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D5C6423D-24C2-B76D-58CD-3A5DE953FD62}"/>
              </a:ext>
            </a:extLst>
          </p:cNvPr>
          <p:cNvSpPr txBox="1">
            <a:spLocks/>
          </p:cNvSpPr>
          <p:nvPr/>
        </p:nvSpPr>
        <p:spPr>
          <a:xfrm>
            <a:off x="6096070" y="192581"/>
            <a:ext cx="593343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</a:pPr>
            <a:r>
              <a:rPr lang="nb-NO" sz="3000" dirty="0"/>
              <a:t>Økonomi er den viktigste </a:t>
            </a:r>
            <a:r>
              <a:rPr lang="nb-NO" sz="3000" b="1" dirty="0">
                <a:solidFill>
                  <a:srgbClr val="FF0000"/>
                </a:solidFill>
              </a:rPr>
              <a:t>barrieren</a:t>
            </a:r>
            <a:r>
              <a:rPr lang="nb-NO" sz="3000" dirty="0"/>
              <a:t> for grønn omstilling </a:t>
            </a:r>
            <a:r>
              <a:rPr lang="nb-NO" sz="3000"/>
              <a:t>i kommunene</a:t>
            </a:r>
            <a:endParaRPr lang="nb-NO" sz="3000" dirty="0"/>
          </a:p>
        </p:txBody>
      </p:sp>
      <p:cxnSp>
        <p:nvCxnSpPr>
          <p:cNvPr id="15" name="Rett linje 14">
            <a:extLst>
              <a:ext uri="{FF2B5EF4-FFF2-40B4-BE49-F238E27FC236}">
                <a16:creationId xmlns:a16="http://schemas.microsoft.com/office/drawing/2014/main" id="{FE7EC634-E573-7645-CEDA-738008E8AF10}"/>
              </a:ext>
            </a:extLst>
          </p:cNvPr>
          <p:cNvCxnSpPr>
            <a:cxnSpLocks/>
          </p:cNvCxnSpPr>
          <p:nvPr/>
        </p:nvCxnSpPr>
        <p:spPr>
          <a:xfrm>
            <a:off x="5994399" y="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assholder for bunntekst 3">
            <a:extLst>
              <a:ext uri="{FF2B5EF4-FFF2-40B4-BE49-F238E27FC236}">
                <a16:creationId xmlns:a16="http://schemas.microsoft.com/office/drawing/2014/main" id="{B09D2A14-1173-8FB5-AD06-F453F0C082BB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Grunt object ad16b10b55e34c06c8873662c14704b0-svg">
            <a:extLst>
              <a:ext uri="{FF2B5EF4-FFF2-40B4-BE49-F238E27FC236}">
                <a16:creationId xmlns:a16="http://schemas.microsoft.com/office/drawing/2014/main" id="{F8C0A1A9-C784-0E8E-B40E-47ABCC7A362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181759" y="1781175"/>
            <a:ext cx="5006087" cy="4413250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a7c48a8ed7026b541742b326faa049de-svg">
            <a:extLst>
              <a:ext uri="{FF2B5EF4-FFF2-40B4-BE49-F238E27FC236}">
                <a16:creationId xmlns:a16="http://schemas.microsoft.com/office/drawing/2014/main" id="{3CEDD644-5099-53F4-4557-B7CCA7D402E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0255033" y="1682750"/>
            <a:ext cx="749883" cy="535031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Grunt object f03b22e50d67cd616872842f860f2c13-svg">
            <a:extLst>
              <a:ext uri="{FF2B5EF4-FFF2-40B4-BE49-F238E27FC236}">
                <a16:creationId xmlns:a16="http://schemas.microsoft.com/office/drawing/2014/main" id="{9CC7C745-5411-7C12-0298-46E395DB45D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638676" y="1682750"/>
            <a:ext cx="749883" cy="535031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20140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ssholder for bilde 4" descr="Et bilde som inneholder utendørs, vandring, skogområde, Urskog&#10;&#10;Automatisk generert beskrivelse">
            <a:extLst>
              <a:ext uri="{FF2B5EF4-FFF2-40B4-BE49-F238E27FC236}">
                <a16:creationId xmlns:a16="http://schemas.microsoft.com/office/drawing/2014/main" id="{12F2EA3B-8429-C5FA-7EAC-08041441932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5" r="14335"/>
          <a:stretch>
            <a:fillRect/>
          </a:stretch>
        </p:blipFill>
        <p:spPr>
          <a:xfrm>
            <a:off x="8760607" y="-6886"/>
            <a:ext cx="3431392" cy="3168097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blipFill>
            <a:blip r:embed="rId11"/>
            <a:stretch>
              <a:fillRect/>
            </a:stretch>
          </a:blipFill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215900" y="1764005"/>
            <a:ext cx="5133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I stor / svært stor grad (%)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C402674-5A84-2DC8-3918-A0DF349E4FE2}"/>
              </a:ext>
            </a:extLst>
          </p:cNvPr>
          <p:cNvSpPr txBox="1"/>
          <p:nvPr/>
        </p:nvSpPr>
        <p:spPr>
          <a:xfrm>
            <a:off x="215900" y="1381407"/>
            <a:ext cx="85447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/>
              <a:t>: </a:t>
            </a:r>
            <a:r>
              <a:rPr lang="nb-NO" dirty="0">
                <a:solidFill>
                  <a:schemeClr val="accent2"/>
                </a:solidFill>
                <a:latin typeface="+mj-lt"/>
              </a:rPr>
              <a:t>I hvilken grad ser du på tap av natur som en risiko for næring i kommunen?</a:t>
            </a:r>
          </a:p>
        </p:txBody>
      </p:sp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2B742B81-7581-06EC-349B-D3084DB75966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4" name="Tittel 1">
            <a:extLst>
              <a:ext uri="{FF2B5EF4-FFF2-40B4-BE49-F238E27FC236}">
                <a16:creationId xmlns:a16="http://schemas.microsoft.com/office/drawing/2014/main" id="{975808D8-B1E3-67CF-CB11-A3108E2CF036}"/>
              </a:ext>
            </a:extLst>
          </p:cNvPr>
          <p:cNvSpPr txBox="1">
            <a:spLocks/>
          </p:cNvSpPr>
          <p:nvPr/>
        </p:nvSpPr>
        <p:spPr>
          <a:xfrm>
            <a:off x="215900" y="246185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dirty="0"/>
              <a:t>Flere små og mellomstore kommuner ser i stor grad </a:t>
            </a:r>
          </a:p>
          <a:p>
            <a:r>
              <a:rPr lang="nb-NO" sz="3000" dirty="0"/>
              <a:t>på tap av natur som en risiko for </a:t>
            </a:r>
            <a:r>
              <a:rPr lang="nb-NO" sz="3000" u="sng" dirty="0"/>
              <a:t>næring</a:t>
            </a:r>
            <a:r>
              <a:rPr lang="nb-NO" sz="3000" dirty="0"/>
              <a:t> i kommunen </a:t>
            </a:r>
          </a:p>
        </p:txBody>
      </p:sp>
      <p:sp>
        <p:nvSpPr>
          <p:cNvPr id="2" name="Grunt object 24dc0495b2ec4d3618c85176b9823dfb-svg">
            <a:extLst>
              <a:ext uri="{FF2B5EF4-FFF2-40B4-BE49-F238E27FC236}">
                <a16:creationId xmlns:a16="http://schemas.microsoft.com/office/drawing/2014/main" id="{C42B5443-01EE-8221-0FE7-E1D7830CF3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35215" y="4102826"/>
            <a:ext cx="3610930" cy="1258336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6145C00-DF85-5925-61B1-663E623B5F53}"/>
              </a:ext>
            </a:extLst>
          </p:cNvPr>
          <p:cNvSpPr txBox="1"/>
          <p:nvPr/>
        </p:nvSpPr>
        <p:spPr>
          <a:xfrm>
            <a:off x="1149977" y="5456981"/>
            <a:ext cx="2666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Trøndelag og Møre og Romsdal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0B2D32E6-4403-07F8-3CEC-8F475862635D}"/>
              </a:ext>
            </a:extLst>
          </p:cNvPr>
          <p:cNvSpPr txBox="1"/>
          <p:nvPr/>
        </p:nvSpPr>
        <p:spPr>
          <a:xfrm>
            <a:off x="6007100" y="5456981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51FB0B0A-EE96-66E6-220C-0843241B23C1}"/>
              </a:ext>
            </a:extLst>
          </p:cNvPr>
          <p:cNvSpPr txBox="1"/>
          <p:nvPr/>
        </p:nvSpPr>
        <p:spPr>
          <a:xfrm>
            <a:off x="9676512" y="5456981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14" name="Grunt object f5035813c47491688a2c4e13f00b15a2-svg">
            <a:extLst>
              <a:ext uri="{FF2B5EF4-FFF2-40B4-BE49-F238E27FC236}">
                <a16:creationId xmlns:a16="http://schemas.microsoft.com/office/drawing/2014/main" id="{3C1E27AB-8D72-08C1-8E40-80990F861E8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21645" y="3518962"/>
            <a:ext cx="3610930" cy="1933640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Grunt object 7792b50f8dce23f5b959d95b1a2c720c-svg">
            <a:extLst>
              <a:ext uri="{FF2B5EF4-FFF2-40B4-BE49-F238E27FC236}">
                <a16:creationId xmlns:a16="http://schemas.microsoft.com/office/drawing/2014/main" id="{FF68066D-A2C0-2CE0-D5B3-9234C5EA89D4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846332" y="3649590"/>
            <a:ext cx="2969294" cy="1665851"/>
          </a:xfrm>
          <a:prstGeom prst="rect">
            <a:avLst/>
          </a:prstGeom>
          <a:blipFill dpi="0" rotWithShape="1"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Grunt object d49e8f379195b3dd3021d6765424e401-svg">
            <a:extLst>
              <a:ext uri="{FF2B5EF4-FFF2-40B4-BE49-F238E27FC236}">
                <a16:creationId xmlns:a16="http://schemas.microsoft.com/office/drawing/2014/main" id="{6F46B8E7-32A9-6CDE-D37D-DE9FC688327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65390" y="5864610"/>
            <a:ext cx="1353859" cy="258354"/>
          </a:xfrm>
          <a:prstGeom prst="rect">
            <a:avLst/>
          </a:prstGeom>
          <a:blipFill dpi="0" rotWithShape="1"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Grunt object d5a9d51120abc00bd7d05131d8429ddd-svg">
            <a:extLst>
              <a:ext uri="{FF2B5EF4-FFF2-40B4-BE49-F238E27FC236}">
                <a16:creationId xmlns:a16="http://schemas.microsoft.com/office/drawing/2014/main" id="{8CBA7826-1B5C-FAAB-BDEE-800ED0820EE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74020" y="5864610"/>
            <a:ext cx="1461589" cy="258354"/>
          </a:xfrm>
          <a:prstGeom prst="rect">
            <a:avLst/>
          </a:prstGeom>
          <a:blipFill dpi="0" rotWithShape="1"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0864199330b82ddbdbf15e3f4bda109b-svg">
            <a:extLst>
              <a:ext uri="{FF2B5EF4-FFF2-40B4-BE49-F238E27FC236}">
                <a16:creationId xmlns:a16="http://schemas.microsoft.com/office/drawing/2014/main" id="{4ACDB363-E2EC-E2D7-4AB5-57D067472E4F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60607" y="5864610"/>
            <a:ext cx="1461589" cy="258354"/>
          </a:xfrm>
          <a:prstGeom prst="rect">
            <a:avLst/>
          </a:prstGeom>
          <a:blipFill dpi="0" rotWithShape="1"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A3C0AF9D-420A-0385-8051-178842B3B4E4}"/>
              </a:ext>
            </a:extLst>
          </p:cNvPr>
          <p:cNvCxnSpPr>
            <a:cxnSpLocks/>
          </p:cNvCxnSpPr>
          <p:nvPr/>
        </p:nvCxnSpPr>
        <p:spPr>
          <a:xfrm>
            <a:off x="4499878" y="3161211"/>
            <a:ext cx="0" cy="307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17CFC512-4F88-3384-6F46-6182F7319EF9}"/>
              </a:ext>
            </a:extLst>
          </p:cNvPr>
          <p:cNvCxnSpPr>
            <a:cxnSpLocks/>
          </p:cNvCxnSpPr>
          <p:nvPr/>
        </p:nvCxnSpPr>
        <p:spPr>
          <a:xfrm>
            <a:off x="8616892" y="3161211"/>
            <a:ext cx="0" cy="30779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9597728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00283" y="2038248"/>
            <a:ext cx="5133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I stor / svært stor grad (%)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C402674-5A84-2DC8-3918-A0DF349E4FE2}"/>
              </a:ext>
            </a:extLst>
          </p:cNvPr>
          <p:cNvSpPr txBox="1"/>
          <p:nvPr/>
        </p:nvSpPr>
        <p:spPr>
          <a:xfrm>
            <a:off x="400283" y="1423196"/>
            <a:ext cx="84249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/>
              <a:t>: </a:t>
            </a:r>
            <a:r>
              <a:rPr lang="nb-NO" dirty="0">
                <a:solidFill>
                  <a:schemeClr val="accent2"/>
                </a:solidFill>
                <a:latin typeface="+mj-lt"/>
              </a:rPr>
              <a:t>I hvilken grad ser du på tap av natur som en risiko for innbyggerne i kommunen?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5D619084-838D-60BF-376C-6B64695A5409}"/>
              </a:ext>
            </a:extLst>
          </p:cNvPr>
          <p:cNvSpPr txBox="1">
            <a:spLocks/>
          </p:cNvSpPr>
          <p:nvPr/>
        </p:nvSpPr>
        <p:spPr>
          <a:xfrm>
            <a:off x="473993" y="310870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000" dirty="0"/>
              <a:t>Halvparten av kommunene  ser på tap av natur </a:t>
            </a:r>
          </a:p>
          <a:p>
            <a:r>
              <a:rPr lang="nb-NO" sz="3000" dirty="0"/>
              <a:t>som en risiko for </a:t>
            </a:r>
            <a:r>
              <a:rPr lang="nb-NO" sz="3000" u="sng" dirty="0"/>
              <a:t>egne innbyggere  </a:t>
            </a:r>
          </a:p>
        </p:txBody>
      </p:sp>
      <p:pic>
        <p:nvPicPr>
          <p:cNvPr id="11" name="Plassholder for bilde 4" descr="Et bilde som inneholder utendørs, vandring, skogområde, Urskog&#10;&#10;Automatisk generert beskrivelse">
            <a:extLst>
              <a:ext uri="{FF2B5EF4-FFF2-40B4-BE49-F238E27FC236}">
                <a16:creationId xmlns:a16="http://schemas.microsoft.com/office/drawing/2014/main" id="{F63E6529-BC03-3C37-462A-80B482CCCCB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5" r="14335"/>
          <a:stretch>
            <a:fillRect/>
          </a:stretch>
        </p:blipFill>
        <p:spPr>
          <a:xfrm>
            <a:off x="8825221" y="-6885"/>
            <a:ext cx="3366778" cy="3066718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blipFill>
            <a:blip r:embed="rId14"/>
            <a:stretch>
              <a:fillRect/>
            </a:stretch>
          </a:blipFill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4C87AF3E-876D-7682-5889-026FE1D70B00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2" name="Grunt object 81413c9b9fcc56d39729fd8c9a30c9f9-svg">
            <a:extLst>
              <a:ext uri="{FF2B5EF4-FFF2-40B4-BE49-F238E27FC236}">
                <a16:creationId xmlns:a16="http://schemas.microsoft.com/office/drawing/2014/main" id="{C08C04FF-9889-81F9-F025-FA601DD7E3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2172" y="3453131"/>
            <a:ext cx="2966576" cy="1755630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5D7D6B24-2AFB-C9A8-4DB4-854F244E9D74}"/>
              </a:ext>
            </a:extLst>
          </p:cNvPr>
          <p:cNvSpPr txBox="1"/>
          <p:nvPr/>
        </p:nvSpPr>
        <p:spPr>
          <a:xfrm>
            <a:off x="973808" y="5371940"/>
            <a:ext cx="2666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Trøndelag og Møre og Romsdal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DCDFD93C-DFE9-5B5F-DE61-8ADEF8D29793}"/>
              </a:ext>
            </a:extLst>
          </p:cNvPr>
          <p:cNvSpPr txBox="1"/>
          <p:nvPr/>
        </p:nvSpPr>
        <p:spPr>
          <a:xfrm>
            <a:off x="6064289" y="5371940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9C8299FD-4710-B39C-45A9-BBF4FA92CDED}"/>
              </a:ext>
            </a:extLst>
          </p:cNvPr>
          <p:cNvSpPr txBox="1"/>
          <p:nvPr/>
        </p:nvSpPr>
        <p:spPr>
          <a:xfrm>
            <a:off x="9528729" y="5371940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14" name="Grunt object 3f18df2dbfda7f561fbf4635e3f308db-svg">
            <a:extLst>
              <a:ext uri="{FF2B5EF4-FFF2-40B4-BE49-F238E27FC236}">
                <a16:creationId xmlns:a16="http://schemas.microsoft.com/office/drawing/2014/main" id="{4AB7264D-B512-F098-7E86-B5152A85186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643291" y="2968870"/>
            <a:ext cx="3628347" cy="2331332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Grunt object c57b91a56ec0ebf2bfc99e38960411dd-svg">
            <a:extLst>
              <a:ext uri="{FF2B5EF4-FFF2-40B4-BE49-F238E27FC236}">
                <a16:creationId xmlns:a16="http://schemas.microsoft.com/office/drawing/2014/main" id="{56FA0810-289C-2816-D708-A5C6DAC6994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57432" y="3276573"/>
            <a:ext cx="2969294" cy="1886469"/>
          </a:xfrm>
          <a:prstGeom prst="rect">
            <a:avLst/>
          </a:prstGeom>
          <a:blipFill dpi="0" rotWithShape="1"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Grunt object d620c044053ed65a76a738c1d070e1a9-svg">
            <a:extLst>
              <a:ext uri="{FF2B5EF4-FFF2-40B4-BE49-F238E27FC236}">
                <a16:creationId xmlns:a16="http://schemas.microsoft.com/office/drawing/2014/main" id="{CF221951-D52D-1494-9F21-C1CDB33BBC9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519000" y="5789370"/>
            <a:ext cx="1353859" cy="258354"/>
          </a:xfrm>
          <a:prstGeom prst="rect">
            <a:avLst/>
          </a:prstGeom>
          <a:blipFill dpi="0" rotWithShape="1"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Grunt object 9336b15632cf37762d2308a4019bca95-svg">
            <a:extLst>
              <a:ext uri="{FF2B5EF4-FFF2-40B4-BE49-F238E27FC236}">
                <a16:creationId xmlns:a16="http://schemas.microsoft.com/office/drawing/2014/main" id="{4CB7FE99-A2C6-10C9-8473-926D57D087C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760607" y="5789370"/>
            <a:ext cx="1461589" cy="258354"/>
          </a:xfrm>
          <a:prstGeom prst="rect">
            <a:avLst/>
          </a:prstGeom>
          <a:blipFill dpi="0" rotWithShape="1"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c5d66cb4a588459337e20fa59939eb2b-svg">
            <a:extLst>
              <a:ext uri="{FF2B5EF4-FFF2-40B4-BE49-F238E27FC236}">
                <a16:creationId xmlns:a16="http://schemas.microsoft.com/office/drawing/2014/main" id="{43097739-F571-773F-A09D-6BB8039D4F9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21847" y="5789370"/>
            <a:ext cx="1353859" cy="258354"/>
          </a:xfrm>
          <a:prstGeom prst="rect">
            <a:avLst/>
          </a:prstGeom>
          <a:blipFill dpi="0" rotWithShape="1"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10254B77-AE67-C865-DFC8-5697BA8A9095}"/>
              </a:ext>
            </a:extLst>
          </p:cNvPr>
          <p:cNvCxnSpPr>
            <a:cxnSpLocks/>
          </p:cNvCxnSpPr>
          <p:nvPr/>
        </p:nvCxnSpPr>
        <p:spPr>
          <a:xfrm>
            <a:off x="4171082" y="2810229"/>
            <a:ext cx="0" cy="307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57905C1A-6351-5EFC-2B48-5C21D942CF16}"/>
              </a:ext>
            </a:extLst>
          </p:cNvPr>
          <p:cNvCxnSpPr>
            <a:cxnSpLocks/>
          </p:cNvCxnSpPr>
          <p:nvPr/>
        </p:nvCxnSpPr>
        <p:spPr>
          <a:xfrm>
            <a:off x="8534919" y="2850869"/>
            <a:ext cx="0" cy="30779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780993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400283" y="2022350"/>
            <a:ext cx="51339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I stor / svært stor grad (%)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C402674-5A84-2DC8-3918-A0DF349E4FE2}"/>
              </a:ext>
            </a:extLst>
          </p:cNvPr>
          <p:cNvSpPr txBox="1"/>
          <p:nvPr/>
        </p:nvSpPr>
        <p:spPr>
          <a:xfrm>
            <a:off x="400283" y="1423196"/>
            <a:ext cx="802557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/>
              <a:t>: </a:t>
            </a:r>
            <a:r>
              <a:rPr lang="nb-NO" dirty="0">
                <a:solidFill>
                  <a:schemeClr val="accent2"/>
                </a:solidFill>
                <a:latin typeface="+mj-lt"/>
              </a:rPr>
              <a:t>I hvilken grad er du bekymret for at naturskader kan påvirke kommunens daglige drift?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5D619084-838D-60BF-376C-6B64695A5409}"/>
              </a:ext>
            </a:extLst>
          </p:cNvPr>
          <p:cNvSpPr txBox="1">
            <a:spLocks/>
          </p:cNvSpPr>
          <p:nvPr/>
        </p:nvSpPr>
        <p:spPr>
          <a:xfrm>
            <a:off x="473993" y="310870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Ulik grad av bekymring for at naturskader kan </a:t>
            </a:r>
          </a:p>
          <a:p>
            <a:r>
              <a:rPr lang="nb-NO" sz="3200" dirty="0"/>
              <a:t>påvirke kommunens daglige drift</a:t>
            </a:r>
          </a:p>
        </p:txBody>
      </p:sp>
      <p:pic>
        <p:nvPicPr>
          <p:cNvPr id="11" name="Plassholder for bilde 4" descr="Et bilde som inneholder utendørs, vandring, skogområde, Urskog&#10;&#10;Automatisk generert beskrivelse">
            <a:extLst>
              <a:ext uri="{FF2B5EF4-FFF2-40B4-BE49-F238E27FC236}">
                <a16:creationId xmlns:a16="http://schemas.microsoft.com/office/drawing/2014/main" id="{F63E6529-BC03-3C37-462A-80B482CCCCB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35" r="14335"/>
          <a:stretch>
            <a:fillRect/>
          </a:stretch>
        </p:blipFill>
        <p:spPr>
          <a:xfrm>
            <a:off x="8580074" y="-6886"/>
            <a:ext cx="3611925" cy="3290017"/>
          </a:xfrm>
          <a:custGeom>
            <a:avLst/>
            <a:gdLst>
              <a:gd name="connsiteX0" fmla="*/ 662015 w 6245112"/>
              <a:gd name="connsiteY0" fmla="*/ 0 h 5842000"/>
              <a:gd name="connsiteX1" fmla="*/ 6245112 w 6245112"/>
              <a:gd name="connsiteY1" fmla="*/ 0 h 5842000"/>
              <a:gd name="connsiteX2" fmla="*/ 6245112 w 6245112"/>
              <a:gd name="connsiteY2" fmla="*/ 4800066 h 5842000"/>
              <a:gd name="connsiteX3" fmla="*/ 6034914 w 6245112"/>
              <a:gd name="connsiteY3" fmla="*/ 4992696 h 5842000"/>
              <a:gd name="connsiteX4" fmla="*/ 3688613 w 6245112"/>
              <a:gd name="connsiteY4" fmla="*/ 5842000 h 5842000"/>
              <a:gd name="connsiteX5" fmla="*/ 0 w 6245112"/>
              <a:gd name="connsiteY5" fmla="*/ 2122714 h 5842000"/>
              <a:gd name="connsiteX6" fmla="*/ 629957 w 6245112"/>
              <a:gd name="connsiteY6" fmla="*/ 43226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45112" h="5842000">
                <a:moveTo>
                  <a:pt x="662015" y="0"/>
                </a:moveTo>
                <a:lnTo>
                  <a:pt x="6245112" y="0"/>
                </a:lnTo>
                <a:lnTo>
                  <a:pt x="6245112" y="4800066"/>
                </a:lnTo>
                <a:lnTo>
                  <a:pt x="6034914" y="4992696"/>
                </a:lnTo>
                <a:cubicBezTo>
                  <a:pt x="5397304" y="5523274"/>
                  <a:pt x="4579873" y="5842000"/>
                  <a:pt x="3688613" y="5842000"/>
                </a:cubicBezTo>
                <a:cubicBezTo>
                  <a:pt x="1651448" y="5842000"/>
                  <a:pt x="0" y="4176819"/>
                  <a:pt x="0" y="2122714"/>
                </a:cubicBezTo>
                <a:cubicBezTo>
                  <a:pt x="0" y="1352425"/>
                  <a:pt x="232235" y="636828"/>
                  <a:pt x="629957" y="43226"/>
                </a:cubicBezTo>
                <a:close/>
              </a:path>
            </a:pathLst>
          </a:custGeom>
          <a:blipFill>
            <a:blip r:embed="rId13"/>
            <a:stretch>
              <a:fillRect/>
            </a:stretch>
          </a:blipFill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4C87AF3E-876D-7682-5889-026FE1D70B00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2" name="Grunt object 1673318f136f00d97b12786c6cffc81e-svg">
            <a:extLst>
              <a:ext uri="{FF2B5EF4-FFF2-40B4-BE49-F238E27FC236}">
                <a16:creationId xmlns:a16="http://schemas.microsoft.com/office/drawing/2014/main" id="{C08C04FF-9889-81F9-F025-FA601DD7E3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18672" y="3663951"/>
            <a:ext cx="3030076" cy="1481310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5D7D6B24-2AFB-C9A8-4DB4-854F244E9D74}"/>
              </a:ext>
            </a:extLst>
          </p:cNvPr>
          <p:cNvSpPr txBox="1"/>
          <p:nvPr/>
        </p:nvSpPr>
        <p:spPr>
          <a:xfrm>
            <a:off x="973808" y="5298648"/>
            <a:ext cx="2666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Trøndelag og Møre og Romsdal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DCDFD93C-DFE9-5B5F-DE61-8ADEF8D29793}"/>
              </a:ext>
            </a:extLst>
          </p:cNvPr>
          <p:cNvSpPr txBox="1"/>
          <p:nvPr/>
        </p:nvSpPr>
        <p:spPr>
          <a:xfrm>
            <a:off x="6064289" y="529864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9C8299FD-4710-B39C-45A9-BBF4FA92CDED}"/>
              </a:ext>
            </a:extLst>
          </p:cNvPr>
          <p:cNvSpPr txBox="1"/>
          <p:nvPr/>
        </p:nvSpPr>
        <p:spPr>
          <a:xfrm>
            <a:off x="9528729" y="529864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14" name="Grunt object 07a777a6d13eab444b947f212572526b-svg">
            <a:extLst>
              <a:ext uri="{FF2B5EF4-FFF2-40B4-BE49-F238E27FC236}">
                <a16:creationId xmlns:a16="http://schemas.microsoft.com/office/drawing/2014/main" id="{4AB7264D-B512-F098-7E86-B5152A85186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643291" y="3088640"/>
            <a:ext cx="3628347" cy="2148062"/>
          </a:xfrm>
          <a:prstGeom prst="rect">
            <a:avLst/>
          </a:prstGeom>
          <a:blipFill dpi="0" rotWithShape="1"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Grunt object 34c8843738251f517f46c35b4c086df2-svg">
            <a:extLst>
              <a:ext uri="{FF2B5EF4-FFF2-40B4-BE49-F238E27FC236}">
                <a16:creationId xmlns:a16="http://schemas.microsoft.com/office/drawing/2014/main" id="{56FA0810-289C-2816-D708-A5C6DAC6994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57432" y="3709671"/>
            <a:ext cx="2969294" cy="1389870"/>
          </a:xfrm>
          <a:prstGeom prst="rect">
            <a:avLst/>
          </a:prstGeom>
          <a:blipFill dpi="0" rotWithShape="1"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Grunt object d620c044053ed65a76a738c1d070e1a9-svg">
            <a:extLst>
              <a:ext uri="{FF2B5EF4-FFF2-40B4-BE49-F238E27FC236}">
                <a16:creationId xmlns:a16="http://schemas.microsoft.com/office/drawing/2014/main" id="{CF221951-D52D-1494-9F21-C1CDB33BBC9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519000" y="5789370"/>
            <a:ext cx="1353859" cy="258354"/>
          </a:xfrm>
          <a:prstGeom prst="rect">
            <a:avLst/>
          </a:prstGeom>
          <a:blipFill dpi="0" rotWithShape="1"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Grunt object 9336b15632cf37762d2308a4019bca95-svg">
            <a:extLst>
              <a:ext uri="{FF2B5EF4-FFF2-40B4-BE49-F238E27FC236}">
                <a16:creationId xmlns:a16="http://schemas.microsoft.com/office/drawing/2014/main" id="{4CB7FE99-A2C6-10C9-8473-926D57D087C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760607" y="5789370"/>
            <a:ext cx="1461589" cy="258354"/>
          </a:xfrm>
          <a:prstGeom prst="rect">
            <a:avLst/>
          </a:prstGeom>
          <a:blipFill dpi="0" rotWithShape="1"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Grunt object de434da4bf431b3470d7a20f7dc16cbc-svg">
            <a:extLst>
              <a:ext uri="{FF2B5EF4-FFF2-40B4-BE49-F238E27FC236}">
                <a16:creationId xmlns:a16="http://schemas.microsoft.com/office/drawing/2014/main" id="{43097739-F571-773F-A09D-6BB8039D4F9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621847" y="5789370"/>
            <a:ext cx="1353859" cy="258354"/>
          </a:xfrm>
          <a:prstGeom prst="rect">
            <a:avLst/>
          </a:prstGeom>
          <a:blipFill dpi="0" rotWithShape="1"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50" dirty="0">
                <a:solidFill>
                  <a:schemeClr val="tx1"/>
                </a:solidFill>
              </a:rPr>
              <a:t>2024</a:t>
            </a:r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10254B77-AE67-C865-DFC8-5697BA8A9095}"/>
              </a:ext>
            </a:extLst>
          </p:cNvPr>
          <p:cNvCxnSpPr>
            <a:cxnSpLocks/>
          </p:cNvCxnSpPr>
          <p:nvPr/>
        </p:nvCxnSpPr>
        <p:spPr>
          <a:xfrm>
            <a:off x="4202255" y="3059611"/>
            <a:ext cx="0" cy="307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57905C1A-6351-5EFC-2B48-5C21D942CF16}"/>
              </a:ext>
            </a:extLst>
          </p:cNvPr>
          <p:cNvCxnSpPr>
            <a:cxnSpLocks/>
          </p:cNvCxnSpPr>
          <p:nvPr/>
        </p:nvCxnSpPr>
        <p:spPr>
          <a:xfrm>
            <a:off x="8566092" y="3100251"/>
            <a:ext cx="0" cy="30779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logo_blaa">
            <a:extLst>
              <a:ext uri="{FF2B5EF4-FFF2-40B4-BE49-F238E27FC236}">
                <a16:creationId xmlns:a16="http://schemas.microsoft.com/office/drawing/2014/main" id="{7FC00648-D18D-A719-8843-D2629A50AAC2}"/>
              </a:ext>
            </a:extLst>
          </p:cNvPr>
          <p:cNvPicPr>
            <a:picLocks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62050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DC402674-5A84-2DC8-3918-A0DF349E4FE2}"/>
              </a:ext>
            </a:extLst>
          </p:cNvPr>
          <p:cNvSpPr txBox="1"/>
          <p:nvPr/>
        </p:nvSpPr>
        <p:spPr>
          <a:xfrm>
            <a:off x="392713" y="1249899"/>
            <a:ext cx="80255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/>
              <a:t>: </a:t>
            </a:r>
            <a:r>
              <a:rPr lang="nb-NO" dirty="0">
                <a:solidFill>
                  <a:schemeClr val="accent2"/>
                </a:solidFill>
                <a:latin typeface="+mj-lt"/>
              </a:rPr>
              <a:t>I hvilken grad etterspør innbyggerne klimavennlige tjenester</a:t>
            </a:r>
          </a:p>
        </p:txBody>
      </p:sp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4C87AF3E-876D-7682-5889-026FE1D70B00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pic>
        <p:nvPicPr>
          <p:cNvPr id="7" name="logo_blaa">
            <a:extLst>
              <a:ext uri="{FF2B5EF4-FFF2-40B4-BE49-F238E27FC236}">
                <a16:creationId xmlns:a16="http://schemas.microsoft.com/office/drawing/2014/main" id="{ED6FE3B9-843B-5FBC-54E6-F434CD9BB13E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19" name="Grunt object b1d5c11af3d71bcb7ab74b33dc8a12e7-svg">
            <a:extLst>
              <a:ext uri="{FF2B5EF4-FFF2-40B4-BE49-F238E27FC236}">
                <a16:creationId xmlns:a16="http://schemas.microsoft.com/office/drawing/2014/main" id="{B49D76C0-BCD6-7C6B-7008-C9563AD806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65726" y="2918344"/>
            <a:ext cx="6549325" cy="2915064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Grunt object 2b0dc912e36fdef147de1fefc2c2a6f9-svg">
            <a:extLst>
              <a:ext uri="{FF2B5EF4-FFF2-40B4-BE49-F238E27FC236}">
                <a16:creationId xmlns:a16="http://schemas.microsoft.com/office/drawing/2014/main" id="{8FDA75A6-5169-7169-1D6A-D430D72EB41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3993" y="1671320"/>
            <a:ext cx="7399918" cy="1168400"/>
          </a:xfrm>
          <a:prstGeom prst="rect">
            <a:avLst/>
          </a:prstGeom>
          <a:blipFill dpi="0"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DA1BBEF1-0260-360F-E943-319B943771B3}"/>
              </a:ext>
            </a:extLst>
          </p:cNvPr>
          <p:cNvSpPr txBox="1"/>
          <p:nvPr/>
        </p:nvSpPr>
        <p:spPr>
          <a:xfrm>
            <a:off x="7342153" y="2383940"/>
            <a:ext cx="33868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chemeClr val="accent2"/>
                </a:solidFill>
                <a:latin typeface="+mj-lt"/>
              </a:rPr>
              <a:t>Svar: I varierende grad (%)</a:t>
            </a:r>
          </a:p>
        </p:txBody>
      </p:sp>
      <p:sp>
        <p:nvSpPr>
          <p:cNvPr id="23" name="Grunt object 14aa042975e95a8c6edf1a0dd6a8feb7-svg">
            <a:extLst>
              <a:ext uri="{FF2B5EF4-FFF2-40B4-BE49-F238E27FC236}">
                <a16:creationId xmlns:a16="http://schemas.microsoft.com/office/drawing/2014/main" id="{00ACA446-E037-3E15-6DCC-67DC0AF90FA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575561" y="3036167"/>
            <a:ext cx="3628347" cy="2331332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8AE7C8F-5641-40C4-76C4-6A40B7C06229}"/>
              </a:ext>
            </a:extLst>
          </p:cNvPr>
          <p:cNvSpPr txBox="1">
            <a:spLocks/>
          </p:cNvSpPr>
          <p:nvPr/>
        </p:nvSpPr>
        <p:spPr>
          <a:xfrm>
            <a:off x="473993" y="310870"/>
            <a:ext cx="11037095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Innbyggerne i midtnorske kommuner </a:t>
            </a:r>
            <a:r>
              <a:rPr lang="nb-NO" sz="3200" u="sng" dirty="0"/>
              <a:t>etterspør</a:t>
            </a:r>
            <a:r>
              <a:rPr lang="nb-NO" sz="3200" dirty="0"/>
              <a:t> i varierende grad klimavennlige tjenes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47852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6835D812-A5AD-71FE-1A78-6F3AA4804C59}"/>
              </a:ext>
            </a:extLst>
          </p:cNvPr>
          <p:cNvSpPr/>
          <p:nvPr/>
        </p:nvSpPr>
        <p:spPr>
          <a:xfrm>
            <a:off x="7018883" y="2133034"/>
            <a:ext cx="4492205" cy="317103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>
            <a:extLst>
              <a:ext uri="{FF2B5EF4-FFF2-40B4-BE49-F238E27FC236}">
                <a16:creationId xmlns:a16="http://schemas.microsoft.com/office/drawing/2014/main" id="{DC402674-5A84-2DC8-3918-A0DF349E4FE2}"/>
              </a:ext>
            </a:extLst>
          </p:cNvPr>
          <p:cNvSpPr txBox="1"/>
          <p:nvPr/>
        </p:nvSpPr>
        <p:spPr>
          <a:xfrm>
            <a:off x="392713" y="1171523"/>
            <a:ext cx="80255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/>
              <a:t>: </a:t>
            </a:r>
            <a:r>
              <a:rPr lang="nb-NO" dirty="0">
                <a:solidFill>
                  <a:schemeClr val="accent2"/>
                </a:solidFill>
                <a:latin typeface="+mj-lt"/>
              </a:rPr>
              <a:t>I hvilken grad leverer kommunen klimavennlige tjenester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5D619084-838D-60BF-376C-6B64695A5409}"/>
              </a:ext>
            </a:extLst>
          </p:cNvPr>
          <p:cNvSpPr txBox="1">
            <a:spLocks/>
          </p:cNvSpPr>
          <p:nvPr/>
        </p:nvSpPr>
        <p:spPr>
          <a:xfrm>
            <a:off x="289248" y="200239"/>
            <a:ext cx="11613504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Flere kommuner leverer i </a:t>
            </a:r>
            <a:r>
              <a:rPr lang="nb-NO" sz="3200" u="sng" dirty="0"/>
              <a:t>stor grad </a:t>
            </a:r>
            <a:r>
              <a:rPr lang="nb-NO" sz="3200" dirty="0"/>
              <a:t>klimavennlige tjenester sammenlignet med i fjor. Størst andel kommuner i Møre og Romsdal </a:t>
            </a:r>
          </a:p>
        </p:txBody>
      </p:sp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4C87AF3E-876D-7682-5889-026FE1D70B00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19" name="Grunt object 6756f7b17ed3e8214615adf491165862-svg">
            <a:extLst>
              <a:ext uri="{FF2B5EF4-FFF2-40B4-BE49-F238E27FC236}">
                <a16:creationId xmlns:a16="http://schemas.microsoft.com/office/drawing/2014/main" id="{B49D76C0-BCD6-7C6B-7008-C9563AD806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1646" y="2641369"/>
            <a:ext cx="5675982" cy="3108413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Grunt object 4607d4b22ff1f3ff979f2d6b999283f7-svg">
            <a:extLst>
              <a:ext uri="{FF2B5EF4-FFF2-40B4-BE49-F238E27FC236}">
                <a16:creationId xmlns:a16="http://schemas.microsoft.com/office/drawing/2014/main" id="{8FDA75A6-5169-7169-1D6A-D430D72EB41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3993" y="1675834"/>
            <a:ext cx="8202386" cy="457200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2481F103-A7C7-5A7D-B957-599F79848E47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4" name="Grunt object 577dfdf4ba17faf13fb616bc8934bbff-svg">
            <a:extLst>
              <a:ext uri="{FF2B5EF4-FFF2-40B4-BE49-F238E27FC236}">
                <a16:creationId xmlns:a16="http://schemas.microsoft.com/office/drawing/2014/main" id="{2ECA44B7-1900-E1CB-7D58-6E6672AAC77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87024" y="3001945"/>
            <a:ext cx="3480301" cy="2026141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B9949FB8-B235-4D6F-B725-DC700B0708C6}"/>
              </a:ext>
            </a:extLst>
          </p:cNvPr>
          <p:cNvSpPr txBox="1"/>
          <p:nvPr/>
        </p:nvSpPr>
        <p:spPr>
          <a:xfrm>
            <a:off x="7342153" y="2276199"/>
            <a:ext cx="338680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solidFill>
                  <a:schemeClr val="accent2"/>
                </a:solidFill>
                <a:latin typeface="+mj-lt"/>
              </a:rPr>
              <a:t>Svar: I varierende grad (%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29754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06906B-9C5D-6C9F-E0FF-976F37C17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06906B-9C5D-6C9F-E0FF-976F37C17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ihåndsform: figur 12">
            <a:extLst>
              <a:ext uri="{FF2B5EF4-FFF2-40B4-BE49-F238E27FC236}">
                <a16:creationId xmlns:a16="http://schemas.microsoft.com/office/drawing/2014/main" id="{B3E95311-D9B4-B2DD-229A-ECE2E4AB5D06}"/>
              </a:ext>
            </a:extLst>
          </p:cNvPr>
          <p:cNvSpPr/>
          <p:nvPr/>
        </p:nvSpPr>
        <p:spPr>
          <a:xfrm>
            <a:off x="-316" y="3060700"/>
            <a:ext cx="12211366" cy="3410746"/>
          </a:xfrm>
          <a:custGeom>
            <a:avLst/>
            <a:gdLst>
              <a:gd name="connsiteX0" fmla="*/ 2495268 w 12220098"/>
              <a:gd name="connsiteY0" fmla="*/ 433 h 1873333"/>
              <a:gd name="connsiteX1" fmla="*/ 6576260 w 12220098"/>
              <a:gd name="connsiteY1" fmla="*/ 372631 h 1873333"/>
              <a:gd name="connsiteX2" fmla="*/ 12220098 w 12220098"/>
              <a:gd name="connsiteY2" fmla="*/ 150289 h 1873333"/>
              <a:gd name="connsiteX3" fmla="*/ 12220098 w 12220098"/>
              <a:gd name="connsiteY3" fmla="*/ 1873333 h 1873333"/>
              <a:gd name="connsiteX4" fmla="*/ 0 w 12220098"/>
              <a:gd name="connsiteY4" fmla="*/ 1873333 h 1873333"/>
              <a:gd name="connsiteX5" fmla="*/ 0 w 12220098"/>
              <a:gd name="connsiteY5" fmla="*/ 623226 h 1873333"/>
              <a:gd name="connsiteX6" fmla="*/ 27775 w 12220098"/>
              <a:gd name="connsiteY6" fmla="*/ 614429 h 1873333"/>
              <a:gd name="connsiteX7" fmla="*/ 2027052 w 12220098"/>
              <a:gd name="connsiteY7" fmla="*/ 18916 h 1873333"/>
              <a:gd name="connsiteX8" fmla="*/ 2495268 w 12220098"/>
              <a:gd name="connsiteY8" fmla="*/ 433 h 1873333"/>
              <a:gd name="connsiteX0" fmla="*/ 2495268 w 12220098"/>
              <a:gd name="connsiteY0" fmla="*/ 185905 h 2058805"/>
              <a:gd name="connsiteX1" fmla="*/ 6576260 w 12220098"/>
              <a:gd name="connsiteY1" fmla="*/ 558103 h 2058805"/>
              <a:gd name="connsiteX2" fmla="*/ 12201048 w 12220098"/>
              <a:gd name="connsiteY2" fmla="*/ 78586 h 2058805"/>
              <a:gd name="connsiteX3" fmla="*/ 12220098 w 12220098"/>
              <a:gd name="connsiteY3" fmla="*/ 2058805 h 2058805"/>
              <a:gd name="connsiteX4" fmla="*/ 0 w 12220098"/>
              <a:gd name="connsiteY4" fmla="*/ 2058805 h 2058805"/>
              <a:gd name="connsiteX5" fmla="*/ 0 w 12220098"/>
              <a:gd name="connsiteY5" fmla="*/ 808698 h 2058805"/>
              <a:gd name="connsiteX6" fmla="*/ 27775 w 12220098"/>
              <a:gd name="connsiteY6" fmla="*/ 799901 h 2058805"/>
              <a:gd name="connsiteX7" fmla="*/ 2027052 w 12220098"/>
              <a:gd name="connsiteY7" fmla="*/ 204388 h 2058805"/>
              <a:gd name="connsiteX8" fmla="*/ 2495268 w 12220098"/>
              <a:gd name="connsiteY8" fmla="*/ 185905 h 2058805"/>
              <a:gd name="connsiteX0" fmla="*/ 2495268 w 12220098"/>
              <a:gd name="connsiteY0" fmla="*/ 107319 h 1980219"/>
              <a:gd name="connsiteX1" fmla="*/ 6576260 w 12220098"/>
              <a:gd name="connsiteY1" fmla="*/ 479517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95410 w 12220098"/>
              <a:gd name="connsiteY1" fmla="*/ 670017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76360 w 12220098"/>
              <a:gd name="connsiteY1" fmla="*/ 589634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09685 w 12220098"/>
              <a:gd name="connsiteY1" fmla="*/ 741469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39148"/>
              <a:gd name="connsiteY0" fmla="*/ 116250 h 1989150"/>
              <a:gd name="connsiteX1" fmla="*/ 7309685 w 12239148"/>
              <a:gd name="connsiteY1" fmla="*/ 750400 h 1989150"/>
              <a:gd name="connsiteX2" fmla="*/ 12239148 w 12239148"/>
              <a:gd name="connsiteY2" fmla="*/ 0 h 1989150"/>
              <a:gd name="connsiteX3" fmla="*/ 12220098 w 12239148"/>
              <a:gd name="connsiteY3" fmla="*/ 1989150 h 1989150"/>
              <a:gd name="connsiteX4" fmla="*/ 0 w 12239148"/>
              <a:gd name="connsiteY4" fmla="*/ 1989150 h 1989150"/>
              <a:gd name="connsiteX5" fmla="*/ 0 w 12239148"/>
              <a:gd name="connsiteY5" fmla="*/ 739043 h 1989150"/>
              <a:gd name="connsiteX6" fmla="*/ 27775 w 12239148"/>
              <a:gd name="connsiteY6" fmla="*/ 730246 h 1989150"/>
              <a:gd name="connsiteX7" fmla="*/ 2027052 w 12239148"/>
              <a:gd name="connsiteY7" fmla="*/ 134733 h 1989150"/>
              <a:gd name="connsiteX8" fmla="*/ 2495268 w 12239148"/>
              <a:gd name="connsiteY8" fmla="*/ 116250 h 1989150"/>
              <a:gd name="connsiteX0" fmla="*/ 2495268 w 12229586"/>
              <a:gd name="connsiteY0" fmla="*/ 110343 h 1983243"/>
              <a:gd name="connsiteX1" fmla="*/ 7309685 w 12229586"/>
              <a:gd name="connsiteY1" fmla="*/ 744493 h 1983243"/>
              <a:gd name="connsiteX2" fmla="*/ 12229586 w 12229586"/>
              <a:gd name="connsiteY2" fmla="*/ 0 h 1983243"/>
              <a:gd name="connsiteX3" fmla="*/ 12220098 w 12229586"/>
              <a:gd name="connsiteY3" fmla="*/ 1983243 h 1983243"/>
              <a:gd name="connsiteX4" fmla="*/ 0 w 12229586"/>
              <a:gd name="connsiteY4" fmla="*/ 1983243 h 1983243"/>
              <a:gd name="connsiteX5" fmla="*/ 0 w 12229586"/>
              <a:gd name="connsiteY5" fmla="*/ 733136 h 1983243"/>
              <a:gd name="connsiteX6" fmla="*/ 27775 w 12229586"/>
              <a:gd name="connsiteY6" fmla="*/ 724339 h 1983243"/>
              <a:gd name="connsiteX7" fmla="*/ 2027052 w 12229586"/>
              <a:gd name="connsiteY7" fmla="*/ 128826 h 1983243"/>
              <a:gd name="connsiteX8" fmla="*/ 2495268 w 12229586"/>
              <a:gd name="connsiteY8" fmla="*/ 110343 h 1983243"/>
              <a:gd name="connsiteX0" fmla="*/ 2495268 w 12229586"/>
              <a:gd name="connsiteY0" fmla="*/ 98529 h 1971429"/>
              <a:gd name="connsiteX1" fmla="*/ 7309685 w 12229586"/>
              <a:gd name="connsiteY1" fmla="*/ 732679 h 1971429"/>
              <a:gd name="connsiteX2" fmla="*/ 12229586 w 12229586"/>
              <a:gd name="connsiteY2" fmla="*/ 0 h 1971429"/>
              <a:gd name="connsiteX3" fmla="*/ 12220098 w 12229586"/>
              <a:gd name="connsiteY3" fmla="*/ 1971429 h 1971429"/>
              <a:gd name="connsiteX4" fmla="*/ 0 w 12229586"/>
              <a:gd name="connsiteY4" fmla="*/ 1971429 h 1971429"/>
              <a:gd name="connsiteX5" fmla="*/ 0 w 12229586"/>
              <a:gd name="connsiteY5" fmla="*/ 721322 h 1971429"/>
              <a:gd name="connsiteX6" fmla="*/ 27775 w 12229586"/>
              <a:gd name="connsiteY6" fmla="*/ 712525 h 1971429"/>
              <a:gd name="connsiteX7" fmla="*/ 2027052 w 12229586"/>
              <a:gd name="connsiteY7" fmla="*/ 117012 h 1971429"/>
              <a:gd name="connsiteX8" fmla="*/ 2495268 w 12229586"/>
              <a:gd name="connsiteY8" fmla="*/ 98529 h 197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29586" h="1971429">
                <a:moveTo>
                  <a:pt x="2495268" y="98529"/>
                </a:moveTo>
                <a:cubicBezTo>
                  <a:pt x="3632722" y="113206"/>
                  <a:pt x="5687299" y="749101"/>
                  <a:pt x="7309685" y="732679"/>
                </a:cubicBezTo>
                <a:cubicBezTo>
                  <a:pt x="8932071" y="716258"/>
                  <a:pt x="11902756" y="541846"/>
                  <a:pt x="12229586" y="0"/>
                </a:cubicBezTo>
                <a:cubicBezTo>
                  <a:pt x="12226423" y="661081"/>
                  <a:pt x="12223261" y="1310348"/>
                  <a:pt x="12220098" y="1971429"/>
                </a:cubicBezTo>
                <a:lnTo>
                  <a:pt x="0" y="1971429"/>
                </a:lnTo>
                <a:lnTo>
                  <a:pt x="0" y="721322"/>
                </a:lnTo>
                <a:lnTo>
                  <a:pt x="27775" y="712525"/>
                </a:lnTo>
                <a:cubicBezTo>
                  <a:pt x="386492" y="586373"/>
                  <a:pt x="981136" y="223218"/>
                  <a:pt x="2027052" y="117012"/>
                </a:cubicBezTo>
                <a:cubicBezTo>
                  <a:pt x="2176469" y="101840"/>
                  <a:pt x="2332775" y="96432"/>
                  <a:pt x="2495268" y="9852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14" name="Frihåndsform: figur 13">
            <a:extLst>
              <a:ext uri="{FF2B5EF4-FFF2-40B4-BE49-F238E27FC236}">
                <a16:creationId xmlns:a16="http://schemas.microsoft.com/office/drawing/2014/main" id="{F65A19E5-A2CE-F78E-387A-7B943E7F51E5}"/>
              </a:ext>
            </a:extLst>
          </p:cNvPr>
          <p:cNvSpPr/>
          <p:nvPr/>
        </p:nvSpPr>
        <p:spPr>
          <a:xfrm>
            <a:off x="0" y="3330055"/>
            <a:ext cx="12220824" cy="3615032"/>
          </a:xfrm>
          <a:custGeom>
            <a:avLst/>
            <a:gdLst>
              <a:gd name="connsiteX0" fmla="*/ 2495268 w 12220098"/>
              <a:gd name="connsiteY0" fmla="*/ 433 h 1873333"/>
              <a:gd name="connsiteX1" fmla="*/ 6576260 w 12220098"/>
              <a:gd name="connsiteY1" fmla="*/ 372631 h 1873333"/>
              <a:gd name="connsiteX2" fmla="*/ 12220098 w 12220098"/>
              <a:gd name="connsiteY2" fmla="*/ 150289 h 1873333"/>
              <a:gd name="connsiteX3" fmla="*/ 12220098 w 12220098"/>
              <a:gd name="connsiteY3" fmla="*/ 1873333 h 1873333"/>
              <a:gd name="connsiteX4" fmla="*/ 0 w 12220098"/>
              <a:gd name="connsiteY4" fmla="*/ 1873333 h 1873333"/>
              <a:gd name="connsiteX5" fmla="*/ 0 w 12220098"/>
              <a:gd name="connsiteY5" fmla="*/ 623226 h 1873333"/>
              <a:gd name="connsiteX6" fmla="*/ 27775 w 12220098"/>
              <a:gd name="connsiteY6" fmla="*/ 614429 h 1873333"/>
              <a:gd name="connsiteX7" fmla="*/ 2027052 w 12220098"/>
              <a:gd name="connsiteY7" fmla="*/ 18916 h 1873333"/>
              <a:gd name="connsiteX8" fmla="*/ 2495268 w 12220098"/>
              <a:gd name="connsiteY8" fmla="*/ 433 h 1873333"/>
              <a:gd name="connsiteX0" fmla="*/ 2495268 w 12220098"/>
              <a:gd name="connsiteY0" fmla="*/ 185905 h 2058805"/>
              <a:gd name="connsiteX1" fmla="*/ 6576260 w 12220098"/>
              <a:gd name="connsiteY1" fmla="*/ 558103 h 2058805"/>
              <a:gd name="connsiteX2" fmla="*/ 12201048 w 12220098"/>
              <a:gd name="connsiteY2" fmla="*/ 78586 h 2058805"/>
              <a:gd name="connsiteX3" fmla="*/ 12220098 w 12220098"/>
              <a:gd name="connsiteY3" fmla="*/ 2058805 h 2058805"/>
              <a:gd name="connsiteX4" fmla="*/ 0 w 12220098"/>
              <a:gd name="connsiteY4" fmla="*/ 2058805 h 2058805"/>
              <a:gd name="connsiteX5" fmla="*/ 0 w 12220098"/>
              <a:gd name="connsiteY5" fmla="*/ 808698 h 2058805"/>
              <a:gd name="connsiteX6" fmla="*/ 27775 w 12220098"/>
              <a:gd name="connsiteY6" fmla="*/ 799901 h 2058805"/>
              <a:gd name="connsiteX7" fmla="*/ 2027052 w 12220098"/>
              <a:gd name="connsiteY7" fmla="*/ 204388 h 2058805"/>
              <a:gd name="connsiteX8" fmla="*/ 2495268 w 12220098"/>
              <a:gd name="connsiteY8" fmla="*/ 185905 h 2058805"/>
              <a:gd name="connsiteX0" fmla="*/ 2495268 w 12220098"/>
              <a:gd name="connsiteY0" fmla="*/ 107319 h 1980219"/>
              <a:gd name="connsiteX1" fmla="*/ 6576260 w 12220098"/>
              <a:gd name="connsiteY1" fmla="*/ 479517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95410 w 12220098"/>
              <a:gd name="connsiteY1" fmla="*/ 670017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76360 w 12220098"/>
              <a:gd name="connsiteY1" fmla="*/ 589634 h 1980219"/>
              <a:gd name="connsiteX2" fmla="*/ 12201048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20098"/>
              <a:gd name="connsiteY0" fmla="*/ 107319 h 1980219"/>
              <a:gd name="connsiteX1" fmla="*/ 7376360 w 12220098"/>
              <a:gd name="connsiteY1" fmla="*/ 589634 h 1980219"/>
              <a:gd name="connsiteX2" fmla="*/ 12210595 w 12220098"/>
              <a:gd name="connsiteY2" fmla="*/ 0 h 1980219"/>
              <a:gd name="connsiteX3" fmla="*/ 12220098 w 12220098"/>
              <a:gd name="connsiteY3" fmla="*/ 1980219 h 1980219"/>
              <a:gd name="connsiteX4" fmla="*/ 0 w 12220098"/>
              <a:gd name="connsiteY4" fmla="*/ 1980219 h 1980219"/>
              <a:gd name="connsiteX5" fmla="*/ 0 w 12220098"/>
              <a:gd name="connsiteY5" fmla="*/ 730112 h 1980219"/>
              <a:gd name="connsiteX6" fmla="*/ 27775 w 12220098"/>
              <a:gd name="connsiteY6" fmla="*/ 721315 h 1980219"/>
              <a:gd name="connsiteX7" fmla="*/ 2027052 w 12220098"/>
              <a:gd name="connsiteY7" fmla="*/ 125802 h 1980219"/>
              <a:gd name="connsiteX8" fmla="*/ 2495268 w 12220098"/>
              <a:gd name="connsiteY8" fmla="*/ 107319 h 1980219"/>
              <a:gd name="connsiteX0" fmla="*/ 2495268 w 12239509"/>
              <a:gd name="connsiteY0" fmla="*/ 107319 h 1980219"/>
              <a:gd name="connsiteX1" fmla="*/ 7376360 w 12239509"/>
              <a:gd name="connsiteY1" fmla="*/ 589634 h 1980219"/>
              <a:gd name="connsiteX2" fmla="*/ 12239236 w 12239509"/>
              <a:gd name="connsiteY2" fmla="*/ 0 h 1980219"/>
              <a:gd name="connsiteX3" fmla="*/ 12220098 w 12239509"/>
              <a:gd name="connsiteY3" fmla="*/ 1980219 h 1980219"/>
              <a:gd name="connsiteX4" fmla="*/ 0 w 12239509"/>
              <a:gd name="connsiteY4" fmla="*/ 1980219 h 1980219"/>
              <a:gd name="connsiteX5" fmla="*/ 0 w 12239509"/>
              <a:gd name="connsiteY5" fmla="*/ 730112 h 1980219"/>
              <a:gd name="connsiteX6" fmla="*/ 27775 w 12239509"/>
              <a:gd name="connsiteY6" fmla="*/ 721315 h 1980219"/>
              <a:gd name="connsiteX7" fmla="*/ 2027052 w 12239509"/>
              <a:gd name="connsiteY7" fmla="*/ 125802 h 1980219"/>
              <a:gd name="connsiteX8" fmla="*/ 2495268 w 12239509"/>
              <a:gd name="connsiteY8" fmla="*/ 107319 h 1980219"/>
              <a:gd name="connsiteX0" fmla="*/ 2495268 w 12239509"/>
              <a:gd name="connsiteY0" fmla="*/ 107319 h 1980219"/>
              <a:gd name="connsiteX1" fmla="*/ 7376360 w 12239509"/>
              <a:gd name="connsiteY1" fmla="*/ 589634 h 1980219"/>
              <a:gd name="connsiteX2" fmla="*/ 12239236 w 12239509"/>
              <a:gd name="connsiteY2" fmla="*/ 0 h 1980219"/>
              <a:gd name="connsiteX3" fmla="*/ 12220098 w 12239509"/>
              <a:gd name="connsiteY3" fmla="*/ 1980219 h 1980219"/>
              <a:gd name="connsiteX4" fmla="*/ 0 w 12239509"/>
              <a:gd name="connsiteY4" fmla="*/ 1980219 h 1980219"/>
              <a:gd name="connsiteX5" fmla="*/ 0 w 12239509"/>
              <a:gd name="connsiteY5" fmla="*/ 730112 h 1980219"/>
              <a:gd name="connsiteX6" fmla="*/ 27775 w 12239509"/>
              <a:gd name="connsiteY6" fmla="*/ 721315 h 1980219"/>
              <a:gd name="connsiteX7" fmla="*/ 2027052 w 12239509"/>
              <a:gd name="connsiteY7" fmla="*/ 125802 h 1980219"/>
              <a:gd name="connsiteX8" fmla="*/ 2495268 w 12239509"/>
              <a:gd name="connsiteY8" fmla="*/ 107319 h 1980219"/>
              <a:gd name="connsiteX0" fmla="*/ 2495268 w 12253986"/>
              <a:gd name="connsiteY0" fmla="*/ 91391 h 1964291"/>
              <a:gd name="connsiteX1" fmla="*/ 7376360 w 12253986"/>
              <a:gd name="connsiteY1" fmla="*/ 573706 h 1964291"/>
              <a:gd name="connsiteX2" fmla="*/ 12253808 w 12253986"/>
              <a:gd name="connsiteY2" fmla="*/ 0 h 1964291"/>
              <a:gd name="connsiteX3" fmla="*/ 12220098 w 12253986"/>
              <a:gd name="connsiteY3" fmla="*/ 1964291 h 1964291"/>
              <a:gd name="connsiteX4" fmla="*/ 0 w 12253986"/>
              <a:gd name="connsiteY4" fmla="*/ 1964291 h 1964291"/>
              <a:gd name="connsiteX5" fmla="*/ 0 w 12253986"/>
              <a:gd name="connsiteY5" fmla="*/ 714184 h 1964291"/>
              <a:gd name="connsiteX6" fmla="*/ 27775 w 12253986"/>
              <a:gd name="connsiteY6" fmla="*/ 705387 h 1964291"/>
              <a:gd name="connsiteX7" fmla="*/ 2027052 w 12253986"/>
              <a:gd name="connsiteY7" fmla="*/ 109874 h 1964291"/>
              <a:gd name="connsiteX8" fmla="*/ 2495268 w 12253986"/>
              <a:gd name="connsiteY8" fmla="*/ 91391 h 1964291"/>
              <a:gd name="connsiteX0" fmla="*/ 2495268 w 12254391"/>
              <a:gd name="connsiteY0" fmla="*/ 91391 h 1964291"/>
              <a:gd name="connsiteX1" fmla="*/ 7376360 w 12254391"/>
              <a:gd name="connsiteY1" fmla="*/ 573706 h 1964291"/>
              <a:gd name="connsiteX2" fmla="*/ 12253808 w 12254391"/>
              <a:gd name="connsiteY2" fmla="*/ 0 h 1964291"/>
              <a:gd name="connsiteX3" fmla="*/ 12249228 w 12254391"/>
              <a:gd name="connsiteY3" fmla="*/ 1956308 h 1964291"/>
              <a:gd name="connsiteX4" fmla="*/ 0 w 12254391"/>
              <a:gd name="connsiteY4" fmla="*/ 1964291 h 1964291"/>
              <a:gd name="connsiteX5" fmla="*/ 0 w 12254391"/>
              <a:gd name="connsiteY5" fmla="*/ 714184 h 1964291"/>
              <a:gd name="connsiteX6" fmla="*/ 27775 w 12254391"/>
              <a:gd name="connsiteY6" fmla="*/ 705387 h 1964291"/>
              <a:gd name="connsiteX7" fmla="*/ 2027052 w 12254391"/>
              <a:gd name="connsiteY7" fmla="*/ 109874 h 1964291"/>
              <a:gd name="connsiteX8" fmla="*/ 2495268 w 12254391"/>
              <a:gd name="connsiteY8" fmla="*/ 91391 h 1964291"/>
              <a:gd name="connsiteX0" fmla="*/ 2495268 w 12254081"/>
              <a:gd name="connsiteY0" fmla="*/ 91391 h 1980256"/>
              <a:gd name="connsiteX1" fmla="*/ 7376360 w 12254081"/>
              <a:gd name="connsiteY1" fmla="*/ 573706 h 1980256"/>
              <a:gd name="connsiteX2" fmla="*/ 12253808 w 12254081"/>
              <a:gd name="connsiteY2" fmla="*/ 0 h 1980256"/>
              <a:gd name="connsiteX3" fmla="*/ 12234663 w 12254081"/>
              <a:gd name="connsiteY3" fmla="*/ 1980256 h 1980256"/>
              <a:gd name="connsiteX4" fmla="*/ 0 w 12254081"/>
              <a:gd name="connsiteY4" fmla="*/ 1964291 h 1980256"/>
              <a:gd name="connsiteX5" fmla="*/ 0 w 12254081"/>
              <a:gd name="connsiteY5" fmla="*/ 714184 h 1980256"/>
              <a:gd name="connsiteX6" fmla="*/ 27775 w 12254081"/>
              <a:gd name="connsiteY6" fmla="*/ 705387 h 1980256"/>
              <a:gd name="connsiteX7" fmla="*/ 2027052 w 12254081"/>
              <a:gd name="connsiteY7" fmla="*/ 109874 h 1980256"/>
              <a:gd name="connsiteX8" fmla="*/ 2495268 w 12254081"/>
              <a:gd name="connsiteY8" fmla="*/ 91391 h 1980256"/>
              <a:gd name="connsiteX0" fmla="*/ 2495268 w 12263794"/>
              <a:gd name="connsiteY0" fmla="*/ 91391 h 1988239"/>
              <a:gd name="connsiteX1" fmla="*/ 7376360 w 12263794"/>
              <a:gd name="connsiteY1" fmla="*/ 573706 h 1988239"/>
              <a:gd name="connsiteX2" fmla="*/ 12253808 w 12263794"/>
              <a:gd name="connsiteY2" fmla="*/ 0 h 1988239"/>
              <a:gd name="connsiteX3" fmla="*/ 12263794 w 12263794"/>
              <a:gd name="connsiteY3" fmla="*/ 1988239 h 1988239"/>
              <a:gd name="connsiteX4" fmla="*/ 0 w 12263794"/>
              <a:gd name="connsiteY4" fmla="*/ 1964291 h 1988239"/>
              <a:gd name="connsiteX5" fmla="*/ 0 w 12263794"/>
              <a:gd name="connsiteY5" fmla="*/ 714184 h 1988239"/>
              <a:gd name="connsiteX6" fmla="*/ 27775 w 12263794"/>
              <a:gd name="connsiteY6" fmla="*/ 705387 h 1988239"/>
              <a:gd name="connsiteX7" fmla="*/ 2027052 w 12263794"/>
              <a:gd name="connsiteY7" fmla="*/ 109874 h 1988239"/>
              <a:gd name="connsiteX8" fmla="*/ 2495268 w 12263794"/>
              <a:gd name="connsiteY8" fmla="*/ 91391 h 1988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63794" h="1988239">
                <a:moveTo>
                  <a:pt x="2495268" y="91391"/>
                </a:moveTo>
                <a:cubicBezTo>
                  <a:pt x="3632722" y="106068"/>
                  <a:pt x="5749937" y="588938"/>
                  <a:pt x="7376360" y="573706"/>
                </a:cubicBezTo>
                <a:cubicBezTo>
                  <a:pt x="9002783" y="558474"/>
                  <a:pt x="11577278" y="494061"/>
                  <a:pt x="12253808" y="0"/>
                </a:cubicBezTo>
                <a:cubicBezTo>
                  <a:pt x="12256976" y="660073"/>
                  <a:pt x="12260626" y="1328166"/>
                  <a:pt x="12263794" y="1988239"/>
                </a:cubicBezTo>
                <a:lnTo>
                  <a:pt x="0" y="1964291"/>
                </a:lnTo>
                <a:lnTo>
                  <a:pt x="0" y="714184"/>
                </a:lnTo>
                <a:lnTo>
                  <a:pt x="27775" y="705387"/>
                </a:lnTo>
                <a:cubicBezTo>
                  <a:pt x="386492" y="579235"/>
                  <a:pt x="981136" y="216080"/>
                  <a:pt x="2027052" y="109874"/>
                </a:cubicBezTo>
                <a:cubicBezTo>
                  <a:pt x="2176469" y="94702"/>
                  <a:pt x="2332775" y="89294"/>
                  <a:pt x="2495268" y="91391"/>
                </a:cubicBez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D89800C7-569D-A158-F1FB-375847331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196" y="386555"/>
            <a:ext cx="11037095" cy="553998"/>
          </a:xfrm>
        </p:spPr>
        <p:txBody>
          <a:bodyPr vert="horz"/>
          <a:lstStyle/>
          <a:p>
            <a:r>
              <a:rPr lang="nb-NO" sz="3200" dirty="0"/>
              <a:t>Norges største undersøkelse om bærekraft</a:t>
            </a:r>
          </a:p>
        </p:txBody>
      </p:sp>
      <p:pic>
        <p:nvPicPr>
          <p:cNvPr id="4" name="Graphic 8" descr="Daily calendar outline">
            <a:extLst>
              <a:ext uri="{FF2B5EF4-FFF2-40B4-BE49-F238E27FC236}">
                <a16:creationId xmlns:a16="http://schemas.microsoft.com/office/drawing/2014/main" id="{67240683-0804-0315-3ABC-D141C85A98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86747" y="1636879"/>
            <a:ext cx="540000" cy="540000"/>
          </a:xfrm>
          <a:prstGeom prst="rect">
            <a:avLst/>
          </a:prstGeom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EB2DC77B-1C39-D333-7E1F-EA728F01118C}"/>
              </a:ext>
            </a:extLst>
          </p:cNvPr>
          <p:cNvSpPr txBox="1"/>
          <p:nvPr/>
        </p:nvSpPr>
        <p:spPr>
          <a:xfrm>
            <a:off x="907523" y="1675705"/>
            <a:ext cx="3059508" cy="120032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Antall intervju: 6.089 privatpersoner</a:t>
            </a: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dirty="0"/>
              <a:t>Webpanel</a:t>
            </a:r>
            <a:r>
              <a:rPr lang="nb-NO" sz="1200" dirty="0">
                <a:solidFill>
                  <a:srgbClr val="000000">
                    <a:alpha val="100000"/>
                  </a:srgbClr>
                </a:solidFill>
              </a:rPr>
              <a:t> hvor respondentene kunne velge tidspunkt og valgte selv å gå inn på undersøkelsen</a:t>
            </a:r>
            <a:endParaRPr lang="nb-NO" sz="1200" u="none" spc="0" dirty="0"/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Intervjuene ble gjennomført i perioden 31.01</a:t>
            </a:r>
            <a:r>
              <a:rPr lang="nb-NO" sz="1200" dirty="0"/>
              <a:t>–08.03.2024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A4EA8341-5CA4-8609-2375-B1F16D71FC4E}"/>
              </a:ext>
            </a:extLst>
          </p:cNvPr>
          <p:cNvSpPr txBox="1"/>
          <p:nvPr/>
        </p:nvSpPr>
        <p:spPr>
          <a:xfrm>
            <a:off x="415196" y="1177958"/>
            <a:ext cx="36537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2"/>
                </a:solidFill>
              </a:rPr>
              <a:t>Befolkningsundersøkelse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D3ED5A8B-EE35-6197-A5F8-9E2D4E8E7843}"/>
              </a:ext>
            </a:extLst>
          </p:cNvPr>
          <p:cNvSpPr txBox="1"/>
          <p:nvPr/>
        </p:nvSpPr>
        <p:spPr>
          <a:xfrm>
            <a:off x="4469365" y="1177958"/>
            <a:ext cx="281100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2"/>
                </a:solidFill>
              </a:rPr>
              <a:t>Bedriftsundersøkelse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B082DE98-A9AF-532D-76D3-47FB54733B08}"/>
              </a:ext>
            </a:extLst>
          </p:cNvPr>
          <p:cNvSpPr txBox="1"/>
          <p:nvPr/>
        </p:nvSpPr>
        <p:spPr>
          <a:xfrm>
            <a:off x="7887478" y="1177958"/>
            <a:ext cx="34772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2"/>
                </a:solidFill>
              </a:rPr>
              <a:t>Kommuneundersøkelse</a:t>
            </a:r>
          </a:p>
        </p:txBody>
      </p:sp>
      <p:sp>
        <p:nvSpPr>
          <p:cNvPr id="12" name="TextBox 10">
            <a:extLst>
              <a:ext uri="{FF2B5EF4-FFF2-40B4-BE49-F238E27FC236}">
                <a16:creationId xmlns:a16="http://schemas.microsoft.com/office/drawing/2014/main" id="{130670FD-DDD4-78CB-6EFC-F1A33E2A88A8}"/>
              </a:ext>
            </a:extLst>
          </p:cNvPr>
          <p:cNvSpPr txBox="1"/>
          <p:nvPr/>
        </p:nvSpPr>
        <p:spPr>
          <a:xfrm>
            <a:off x="4982684" y="1675705"/>
            <a:ext cx="2904793" cy="120032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dirty="0"/>
              <a:t>Antall intervju: 1.718 bedriftsledere</a:t>
            </a:r>
            <a:endParaRPr lang="nb-NO" sz="1200" u="none" spc="0" dirty="0"/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rgbClr val="000000">
                    <a:alpha val="100000"/>
                  </a:srgbClr>
                </a:solidFill>
              </a:rPr>
              <a:t>Undersøkelsen ble gjennomført på telefon</a:t>
            </a:r>
            <a:endParaRPr lang="nb-NO" sz="1200" u="none" spc="0" dirty="0"/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Intervjuene ble gjennomført på telefon i perioden 17.0</a:t>
            </a:r>
            <a:r>
              <a:rPr lang="nb-NO" sz="1200" dirty="0"/>
              <a:t>1–08.03.24</a:t>
            </a: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endParaRPr lang="nb-NO" sz="1200" dirty="0"/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FBAB4A65-3D1F-3FFF-277B-E0184B183584}"/>
              </a:ext>
            </a:extLst>
          </p:cNvPr>
          <p:cNvSpPr txBox="1"/>
          <p:nvPr/>
        </p:nvSpPr>
        <p:spPr>
          <a:xfrm>
            <a:off x="8645155" y="1635126"/>
            <a:ext cx="2884886" cy="101566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dirty="0"/>
              <a:t>Antall intervju: 253/356 kommuner</a:t>
            </a:r>
            <a:endParaRPr lang="nb-NO" sz="1200" u="none" spc="0" dirty="0"/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Undersøkelsen ble gjennomført </a:t>
            </a:r>
            <a:r>
              <a:rPr lang="nb-NO" sz="1200" dirty="0"/>
              <a:t>digitalt etter invitasjon på e-post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nb-NO" sz="1200" u="none" spc="0" dirty="0"/>
              <a:t>Intervjuene ble gjennomført i perioden </a:t>
            </a:r>
            <a:r>
              <a:rPr lang="nb-NO" sz="1200" dirty="0"/>
              <a:t>31.01-11.03.2024</a:t>
            </a:r>
          </a:p>
        </p:txBody>
      </p:sp>
      <p:pic>
        <p:nvPicPr>
          <p:cNvPr id="17" name="Graphic 8" descr="Daily calendar outline">
            <a:extLst>
              <a:ext uri="{FF2B5EF4-FFF2-40B4-BE49-F238E27FC236}">
                <a16:creationId xmlns:a16="http://schemas.microsoft.com/office/drawing/2014/main" id="{1607FBA1-B337-32D1-CF02-B3D0FC16948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69365" y="1602958"/>
            <a:ext cx="540000" cy="540000"/>
          </a:xfrm>
          <a:prstGeom prst="rect">
            <a:avLst/>
          </a:prstGeom>
        </p:spPr>
      </p:pic>
      <p:pic>
        <p:nvPicPr>
          <p:cNvPr id="18" name="Graphic 8" descr="Daily calendar outline">
            <a:extLst>
              <a:ext uri="{FF2B5EF4-FFF2-40B4-BE49-F238E27FC236}">
                <a16:creationId xmlns:a16="http://schemas.microsoft.com/office/drawing/2014/main" id="{739C37A1-AE91-4BB8-B715-1652B157187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49649" y="1602958"/>
            <a:ext cx="540000" cy="540000"/>
          </a:xfrm>
          <a:prstGeom prst="rect">
            <a:avLst/>
          </a:prstGeom>
        </p:spPr>
      </p:pic>
      <p:sp>
        <p:nvSpPr>
          <p:cNvPr id="19" name="Plassholder for bunntekst 3">
            <a:extLst>
              <a:ext uri="{FF2B5EF4-FFF2-40B4-BE49-F238E27FC236}">
                <a16:creationId xmlns:a16="http://schemas.microsoft.com/office/drawing/2014/main" id="{E07A94C4-7AFD-8901-45AF-921BD366E94F}"/>
              </a:ext>
            </a:extLst>
          </p:cNvPr>
          <p:cNvSpPr txBox="1">
            <a:spLocks/>
          </p:cNvSpPr>
          <p:nvPr/>
        </p:nvSpPr>
        <p:spPr>
          <a:xfrm>
            <a:off x="682207" y="6443941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bg1"/>
                </a:solidFill>
              </a:rPr>
              <a:t>Kilde: Sentio Research Norge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A44ECB1-7E08-935B-D97F-99D24548F43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05120" y="6164125"/>
            <a:ext cx="2670279" cy="5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1570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: avrundede hjørner diagonalt 15">
            <a:extLst>
              <a:ext uri="{FF2B5EF4-FFF2-40B4-BE49-F238E27FC236}">
                <a16:creationId xmlns:a16="http://schemas.microsoft.com/office/drawing/2014/main" id="{4863B0D7-0DCE-F6BA-8C00-45CC5804699C}"/>
              </a:ext>
            </a:extLst>
          </p:cNvPr>
          <p:cNvSpPr/>
          <p:nvPr/>
        </p:nvSpPr>
        <p:spPr>
          <a:xfrm>
            <a:off x="626287" y="1712476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Strategi</a:t>
            </a:r>
          </a:p>
        </p:txBody>
      </p:sp>
      <p:sp>
        <p:nvSpPr>
          <p:cNvPr id="18" name="Rektangel: avrundede hjørner diagonalt 17">
            <a:extLst>
              <a:ext uri="{FF2B5EF4-FFF2-40B4-BE49-F238E27FC236}">
                <a16:creationId xmlns:a16="http://schemas.microsoft.com/office/drawing/2014/main" id="{EDDFE4F8-336D-47E3-6D24-516DEAB3FEB9}"/>
              </a:ext>
            </a:extLst>
          </p:cNvPr>
          <p:cNvSpPr/>
          <p:nvPr/>
        </p:nvSpPr>
        <p:spPr>
          <a:xfrm>
            <a:off x="626287" y="2685387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Innovasjon, kunder og marked</a:t>
            </a:r>
          </a:p>
        </p:txBody>
      </p:sp>
      <p:sp>
        <p:nvSpPr>
          <p:cNvPr id="19" name="Rektangel: avrundede hjørner diagonalt 18">
            <a:extLst>
              <a:ext uri="{FF2B5EF4-FFF2-40B4-BE49-F238E27FC236}">
                <a16:creationId xmlns:a16="http://schemas.microsoft.com/office/drawing/2014/main" id="{C912209D-AC8B-C81D-FABD-7AB5C9EF0892}"/>
              </a:ext>
            </a:extLst>
          </p:cNvPr>
          <p:cNvSpPr/>
          <p:nvPr/>
        </p:nvSpPr>
        <p:spPr>
          <a:xfrm>
            <a:off x="626287" y="3658298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Kompetanse</a:t>
            </a:r>
          </a:p>
        </p:txBody>
      </p:sp>
      <p:sp>
        <p:nvSpPr>
          <p:cNvPr id="20" name="Rektangel: avrundede hjørner diagonalt 19">
            <a:extLst>
              <a:ext uri="{FF2B5EF4-FFF2-40B4-BE49-F238E27FC236}">
                <a16:creationId xmlns:a16="http://schemas.microsoft.com/office/drawing/2014/main" id="{17D22BF5-A214-1915-566E-B058C54CB6AE}"/>
              </a:ext>
            </a:extLst>
          </p:cNvPr>
          <p:cNvSpPr/>
          <p:nvPr/>
        </p:nvSpPr>
        <p:spPr>
          <a:xfrm>
            <a:off x="626287" y="4631209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Fremtid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ADD11C62-9922-08BA-A996-937B4BB099E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3" name="Frihåndsform: figur 2">
            <a:extLst>
              <a:ext uri="{FF2B5EF4-FFF2-40B4-BE49-F238E27FC236}">
                <a16:creationId xmlns:a16="http://schemas.microsoft.com/office/drawing/2014/main" id="{84F65028-4F8F-5895-F0C8-CA689A51DD77}"/>
              </a:ext>
            </a:extLst>
          </p:cNvPr>
          <p:cNvSpPr/>
          <p:nvPr/>
        </p:nvSpPr>
        <p:spPr>
          <a:xfrm>
            <a:off x="7536546" y="0"/>
            <a:ext cx="4655454" cy="4354951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3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  <a:reflection blurRad="6350" stA="50000" endA="300" endPos="38500" dist="5080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24822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ihåndsform: figur 1">
            <a:extLst>
              <a:ext uri="{FF2B5EF4-FFF2-40B4-BE49-F238E27FC236}">
                <a16:creationId xmlns:a16="http://schemas.microsoft.com/office/drawing/2014/main" id="{BE958D3A-74AF-D497-864A-666C56CF541D}"/>
              </a:ext>
            </a:extLst>
          </p:cNvPr>
          <p:cNvSpPr/>
          <p:nvPr/>
        </p:nvSpPr>
        <p:spPr>
          <a:xfrm>
            <a:off x="9379131" y="0"/>
            <a:ext cx="2812868" cy="2677874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solidFill>
            <a:srgbClr val="F8E9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pic>
        <p:nvPicPr>
          <p:cNvPr id="3" name="logo_blaa">
            <a:extLst>
              <a:ext uri="{FF2B5EF4-FFF2-40B4-BE49-F238E27FC236}">
                <a16:creationId xmlns:a16="http://schemas.microsoft.com/office/drawing/2014/main" id="{26FC71C6-7567-ADFB-623F-20B1A3700CC8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426BE9AA-A91F-BB99-5246-0D58D4EFD43E}"/>
              </a:ext>
            </a:extLst>
          </p:cNvPr>
          <p:cNvSpPr txBox="1"/>
          <p:nvPr/>
        </p:nvSpPr>
        <p:spPr>
          <a:xfrm>
            <a:off x="2935009" y="533794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A0741B8-0F7F-B560-9F55-805B3757B61C}"/>
              </a:ext>
            </a:extLst>
          </p:cNvPr>
          <p:cNvSpPr txBox="1"/>
          <p:nvPr/>
        </p:nvSpPr>
        <p:spPr>
          <a:xfrm>
            <a:off x="8565633" y="527371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8" name="Grunt object 725a829aecf6f24c9122c5c0d0c74254-svg">
            <a:extLst>
              <a:ext uri="{FF2B5EF4-FFF2-40B4-BE49-F238E27FC236}">
                <a16:creationId xmlns:a16="http://schemas.microsoft.com/office/drawing/2014/main" id="{26AD1CAD-09A9-5DD4-CA42-623845711E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34705" y="3982720"/>
            <a:ext cx="5310293" cy="1377743"/>
          </a:xfrm>
          <a:prstGeom prst="rect">
            <a:avLst/>
          </a:prstGeom>
          <a:blipFill dpi="0" rotWithShape="1"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Grunt object 7ff3637f55dcd37852b8dd6339b081aa-svg">
            <a:extLst>
              <a:ext uri="{FF2B5EF4-FFF2-40B4-BE49-F238E27FC236}">
                <a16:creationId xmlns:a16="http://schemas.microsoft.com/office/drawing/2014/main" id="{3817E2B5-1D70-AD57-7784-7D72018827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49433" y="3746862"/>
            <a:ext cx="3771934" cy="1430720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Grunt object ff8301d62f3637bc1b36c72b2c8b12d3-svg">
            <a:extLst>
              <a:ext uri="{FF2B5EF4-FFF2-40B4-BE49-F238E27FC236}">
                <a16:creationId xmlns:a16="http://schemas.microsoft.com/office/drawing/2014/main" id="{57738B8A-A0C1-FEF4-99B9-9E9AEF3E5AB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7879" y="5643891"/>
            <a:ext cx="1353859" cy="258354"/>
          </a:xfrm>
          <a:prstGeom prst="rect">
            <a:avLst/>
          </a:prstGeom>
          <a:blipFill dpi="0"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5d5043ac0f63ddf9beae5aaa9a884815-svg">
            <a:extLst>
              <a:ext uri="{FF2B5EF4-FFF2-40B4-BE49-F238E27FC236}">
                <a16:creationId xmlns:a16="http://schemas.microsoft.com/office/drawing/2014/main" id="{6AC20A62-BFE3-35EF-0B98-3E5B8DB4E3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52608" y="5643891"/>
            <a:ext cx="1461589" cy="258354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805E4F24-0545-4B36-4A50-8B2147303C84}"/>
              </a:ext>
            </a:extLst>
          </p:cNvPr>
          <p:cNvCxnSpPr>
            <a:cxnSpLocks/>
          </p:cNvCxnSpPr>
          <p:nvPr/>
        </p:nvCxnSpPr>
        <p:spPr>
          <a:xfrm>
            <a:off x="6615372" y="2962134"/>
            <a:ext cx="0" cy="30779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985E6C6-3F98-7BFE-40E0-983F82262D88}"/>
              </a:ext>
            </a:extLst>
          </p:cNvPr>
          <p:cNvSpPr txBox="1"/>
          <p:nvPr/>
        </p:nvSpPr>
        <p:spPr>
          <a:xfrm>
            <a:off x="279622" y="1599294"/>
            <a:ext cx="825210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/>
              <a:t>: </a:t>
            </a:r>
            <a:r>
              <a:rPr lang="nb-NO" dirty="0">
                <a:solidFill>
                  <a:schemeClr val="accent2"/>
                </a:solidFill>
                <a:latin typeface="+mj-lt"/>
              </a:rPr>
              <a:t>I hvilken grad opplever kommunen å ha tilstrekkelig kompetanse om bærekraft?</a:t>
            </a:r>
          </a:p>
          <a:p>
            <a:endParaRPr lang="nb-NO" dirty="0">
              <a:solidFill>
                <a:schemeClr val="accent2"/>
              </a:solidFill>
              <a:latin typeface="+mj-lt"/>
            </a:endParaRPr>
          </a:p>
          <a:p>
            <a:r>
              <a:rPr lang="nb-NO" dirty="0">
                <a:solidFill>
                  <a:schemeClr val="accent2"/>
                </a:solidFill>
                <a:latin typeface="+mj-lt"/>
              </a:rPr>
              <a:t>Svar: I stor/svært stor grad (%)</a:t>
            </a: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4DB1D54E-3532-9ED0-EF49-1FFEF9F064C2}"/>
              </a:ext>
            </a:extLst>
          </p:cNvPr>
          <p:cNvSpPr txBox="1">
            <a:spLocks/>
          </p:cNvSpPr>
          <p:nvPr/>
        </p:nvSpPr>
        <p:spPr>
          <a:xfrm>
            <a:off x="129602" y="200656"/>
            <a:ext cx="11253520" cy="5539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15% av kommunene i Midt-Norge opplever i stor grad</a:t>
            </a:r>
          </a:p>
          <a:p>
            <a:r>
              <a:rPr lang="nb-NO" sz="3200" dirty="0"/>
              <a:t>å ha tilstrekkelig kompetanse om bærekraft </a:t>
            </a:r>
          </a:p>
        </p:txBody>
      </p:sp>
      <p:pic>
        <p:nvPicPr>
          <p:cNvPr id="4" name="Picture 4" descr="Bærekraft-illustrasjon bærekraftsmål-samlet lys">
            <a:extLst>
              <a:ext uri="{FF2B5EF4-FFF2-40B4-BE49-F238E27FC236}">
                <a16:creationId xmlns:a16="http://schemas.microsoft.com/office/drawing/2014/main" id="{6151CBCF-7BCA-6814-9A09-4FEBA5EA25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15529" r="14674" b="14660"/>
          <a:stretch/>
        </p:blipFill>
        <p:spPr bwMode="auto">
          <a:xfrm>
            <a:off x="9938929" y="592183"/>
            <a:ext cx="2113081" cy="1620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29257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>
            <a:extLst>
              <a:ext uri="{FF2B5EF4-FFF2-40B4-BE49-F238E27FC236}">
                <a16:creationId xmlns:a16="http://schemas.microsoft.com/office/drawing/2014/main" id="{426BE9AA-A91F-BB99-5246-0D58D4EFD43E}"/>
              </a:ext>
            </a:extLst>
          </p:cNvPr>
          <p:cNvSpPr txBox="1"/>
          <p:nvPr/>
        </p:nvSpPr>
        <p:spPr>
          <a:xfrm>
            <a:off x="2935009" y="533794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A0741B8-0F7F-B560-9F55-805B3757B61C}"/>
              </a:ext>
            </a:extLst>
          </p:cNvPr>
          <p:cNvSpPr txBox="1"/>
          <p:nvPr/>
        </p:nvSpPr>
        <p:spPr>
          <a:xfrm>
            <a:off x="8565633" y="527371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8" name="Grunt object 82933e578af0938983c23779ebb667e8-svg">
            <a:extLst>
              <a:ext uri="{FF2B5EF4-FFF2-40B4-BE49-F238E27FC236}">
                <a16:creationId xmlns:a16="http://schemas.microsoft.com/office/drawing/2014/main" id="{26AD1CAD-09A9-5DD4-CA42-623845711E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82491" y="3738880"/>
            <a:ext cx="5162507" cy="1621583"/>
          </a:xfrm>
          <a:prstGeom prst="rect">
            <a:avLst/>
          </a:prstGeom>
          <a:blipFill dpi="0"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Grunt object dc321c7bef70cbba73d3266a9c9ed973-svg">
            <a:extLst>
              <a:ext uri="{FF2B5EF4-FFF2-40B4-BE49-F238E27FC236}">
                <a16:creationId xmlns:a16="http://schemas.microsoft.com/office/drawing/2014/main" id="{3817E2B5-1D70-AD57-7784-7D72018827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49433" y="3921760"/>
            <a:ext cx="3771934" cy="1255823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Grunt object ff8301d62f3637bc1b36c72b2c8b12d3-svg">
            <a:extLst>
              <a:ext uri="{FF2B5EF4-FFF2-40B4-BE49-F238E27FC236}">
                <a16:creationId xmlns:a16="http://schemas.microsoft.com/office/drawing/2014/main" id="{57738B8A-A0C1-FEF4-99B9-9E9AEF3E5AB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7879" y="5643891"/>
            <a:ext cx="1353859" cy="258354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5d5043ac0f63ddf9beae5aaa9a884815-svg">
            <a:extLst>
              <a:ext uri="{FF2B5EF4-FFF2-40B4-BE49-F238E27FC236}">
                <a16:creationId xmlns:a16="http://schemas.microsoft.com/office/drawing/2014/main" id="{6AC20A62-BFE3-35EF-0B98-3E5B8DB4E3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52608" y="5643891"/>
            <a:ext cx="1461589" cy="258354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805E4F24-0545-4B36-4A50-8B2147303C84}"/>
              </a:ext>
            </a:extLst>
          </p:cNvPr>
          <p:cNvCxnSpPr>
            <a:cxnSpLocks/>
          </p:cNvCxnSpPr>
          <p:nvPr/>
        </p:nvCxnSpPr>
        <p:spPr>
          <a:xfrm>
            <a:off x="6676332" y="2979551"/>
            <a:ext cx="0" cy="30779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985E6C6-3F98-7BFE-40E0-983F82262D88}"/>
              </a:ext>
            </a:extLst>
          </p:cNvPr>
          <p:cNvSpPr txBox="1"/>
          <p:nvPr/>
        </p:nvSpPr>
        <p:spPr>
          <a:xfrm>
            <a:off x="445086" y="1390286"/>
            <a:ext cx="812054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>
                <a:latin typeface="+mj-lt"/>
              </a:rPr>
              <a:t>: </a:t>
            </a:r>
            <a:r>
              <a:rPr lang="nb-NO" dirty="0">
                <a:solidFill>
                  <a:schemeClr val="accent2"/>
                </a:solidFill>
                <a:latin typeface="+mj-lt"/>
              </a:rPr>
              <a:t>I hvilken grad er din kommune forberedt på å tilpasse seg nytt regelverk knyttet til rapportering og offentliggjøring av bærekraftsinformasjon?</a:t>
            </a:r>
          </a:p>
          <a:p>
            <a:endParaRPr lang="nb-NO" dirty="0">
              <a:solidFill>
                <a:schemeClr val="accent2"/>
              </a:solidFill>
              <a:latin typeface="SpareBank 1 Medium" panose="020B0500030000000000" pitchFamily="34" charset="0"/>
            </a:endParaRPr>
          </a:p>
          <a:p>
            <a:r>
              <a:rPr lang="nb-NO" dirty="0">
                <a:solidFill>
                  <a:schemeClr val="accent2"/>
                </a:solidFill>
                <a:latin typeface="+mj-lt"/>
              </a:rPr>
              <a:t>Svar: I stor/svært stor grad (%)</a:t>
            </a: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4DB1D54E-3532-9ED0-EF49-1FFEF9F064C2}"/>
              </a:ext>
            </a:extLst>
          </p:cNvPr>
          <p:cNvSpPr txBox="1">
            <a:spLocks/>
          </p:cNvSpPr>
          <p:nvPr/>
        </p:nvSpPr>
        <p:spPr>
          <a:xfrm>
            <a:off x="469240" y="270326"/>
            <a:ext cx="9493366" cy="5539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Knapt 1 av 3 kommuner er i stor grad forberedt på å tilpasse seg nytt regelverk knyttet til rapportering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203B1CF3-9621-E098-2980-520F3CC8F5E5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5" name="Frihåndsform: figur 4">
            <a:extLst>
              <a:ext uri="{FF2B5EF4-FFF2-40B4-BE49-F238E27FC236}">
                <a16:creationId xmlns:a16="http://schemas.microsoft.com/office/drawing/2014/main" id="{DA10F713-AF3D-39E5-87FA-D72BD20FD29C}"/>
              </a:ext>
            </a:extLst>
          </p:cNvPr>
          <p:cNvSpPr/>
          <p:nvPr/>
        </p:nvSpPr>
        <p:spPr>
          <a:xfrm>
            <a:off x="9309100" y="0"/>
            <a:ext cx="2882899" cy="2769326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solidFill>
            <a:srgbClr val="F8E9DD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pic>
        <p:nvPicPr>
          <p:cNvPr id="15" name="Picture 4" descr="Bærekraft-illustrasjon bærekraftsmål-samlet lys">
            <a:extLst>
              <a:ext uri="{FF2B5EF4-FFF2-40B4-BE49-F238E27FC236}">
                <a16:creationId xmlns:a16="http://schemas.microsoft.com/office/drawing/2014/main" id="{09BA4E07-38AF-C068-5931-4F30018941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6" t="15529" r="14674" b="14660"/>
          <a:stretch/>
        </p:blipFill>
        <p:spPr bwMode="auto">
          <a:xfrm>
            <a:off x="9714927" y="270326"/>
            <a:ext cx="2477072" cy="189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638161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>
            <a:extLst>
              <a:ext uri="{FF2B5EF4-FFF2-40B4-BE49-F238E27FC236}">
                <a16:creationId xmlns:a16="http://schemas.microsoft.com/office/drawing/2014/main" id="{426BE9AA-A91F-BB99-5246-0D58D4EFD43E}"/>
              </a:ext>
            </a:extLst>
          </p:cNvPr>
          <p:cNvSpPr txBox="1"/>
          <p:nvPr/>
        </p:nvSpPr>
        <p:spPr>
          <a:xfrm>
            <a:off x="2935009" y="533794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A0741B8-0F7F-B560-9F55-805B3757B61C}"/>
              </a:ext>
            </a:extLst>
          </p:cNvPr>
          <p:cNvSpPr txBox="1"/>
          <p:nvPr/>
        </p:nvSpPr>
        <p:spPr>
          <a:xfrm>
            <a:off x="8565633" y="527371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8" name="Grunt object 44f36e10686cdd2174c3ec8a06e8cf56-svg">
            <a:extLst>
              <a:ext uri="{FF2B5EF4-FFF2-40B4-BE49-F238E27FC236}">
                <a16:creationId xmlns:a16="http://schemas.microsoft.com/office/drawing/2014/main" id="{26AD1CAD-09A9-5DD4-CA42-623845711E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92651" y="3566160"/>
            <a:ext cx="5152347" cy="1794303"/>
          </a:xfrm>
          <a:prstGeom prst="rect">
            <a:avLst/>
          </a:prstGeom>
          <a:blipFill dpi="0"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Grunt object 5dc2acdd6dd2f0197fe6b919ffd36adf-svg">
            <a:extLst>
              <a:ext uri="{FF2B5EF4-FFF2-40B4-BE49-F238E27FC236}">
                <a16:creationId xmlns:a16="http://schemas.microsoft.com/office/drawing/2014/main" id="{3817E2B5-1D70-AD57-7784-7D72018827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449433" y="3362960"/>
            <a:ext cx="3771934" cy="1814623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Grunt object ff8301d62f3637bc1b36c72b2c8b12d3-svg">
            <a:extLst>
              <a:ext uri="{FF2B5EF4-FFF2-40B4-BE49-F238E27FC236}">
                <a16:creationId xmlns:a16="http://schemas.microsoft.com/office/drawing/2014/main" id="{57738B8A-A0C1-FEF4-99B9-9E9AEF3E5AB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7879" y="5643891"/>
            <a:ext cx="1353859" cy="258354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5d5043ac0f63ddf9beae5aaa9a884815-svg">
            <a:extLst>
              <a:ext uri="{FF2B5EF4-FFF2-40B4-BE49-F238E27FC236}">
                <a16:creationId xmlns:a16="http://schemas.microsoft.com/office/drawing/2014/main" id="{6AC20A62-BFE3-35EF-0B98-3E5B8DB4E32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52608" y="5643891"/>
            <a:ext cx="1461589" cy="258354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805E4F24-0545-4B36-4A50-8B2147303C84}"/>
              </a:ext>
            </a:extLst>
          </p:cNvPr>
          <p:cNvCxnSpPr>
            <a:cxnSpLocks/>
          </p:cNvCxnSpPr>
          <p:nvPr/>
        </p:nvCxnSpPr>
        <p:spPr>
          <a:xfrm>
            <a:off x="6615372" y="2962134"/>
            <a:ext cx="0" cy="30779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985E6C6-3F98-7BFE-40E0-983F82262D88}"/>
              </a:ext>
            </a:extLst>
          </p:cNvPr>
          <p:cNvSpPr txBox="1"/>
          <p:nvPr/>
        </p:nvSpPr>
        <p:spPr>
          <a:xfrm>
            <a:off x="445087" y="1415453"/>
            <a:ext cx="689674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>
                <a:latin typeface="+mj-lt"/>
              </a:rPr>
              <a:t>: </a:t>
            </a:r>
            <a:r>
              <a:rPr lang="nb-NO" dirty="0">
                <a:solidFill>
                  <a:schemeClr val="accent2"/>
                </a:solidFill>
                <a:latin typeface="+mj-lt"/>
              </a:rPr>
              <a:t>I hvilken grad tror du bruk av KI (Kunstig Intelligens) kan støtte kommunen i arbeidet med bærekraftig omstilling?</a:t>
            </a:r>
          </a:p>
          <a:p>
            <a:endParaRPr lang="nb-NO" dirty="0">
              <a:solidFill>
                <a:schemeClr val="accent2"/>
              </a:solidFill>
              <a:latin typeface="SpareBank 1 Medium" panose="020B0500030000000000" pitchFamily="34" charset="0"/>
            </a:endParaRPr>
          </a:p>
          <a:p>
            <a:r>
              <a:rPr lang="nb-NO" dirty="0">
                <a:solidFill>
                  <a:schemeClr val="accent2"/>
                </a:solidFill>
                <a:latin typeface="+mj-lt"/>
              </a:rPr>
              <a:t>Svar: Andel kommuner som svarer : I stor/svært stor grad (%)</a:t>
            </a: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4DB1D54E-3532-9ED0-EF49-1FFEF9F064C2}"/>
              </a:ext>
            </a:extLst>
          </p:cNvPr>
          <p:cNvSpPr txBox="1">
            <a:spLocks/>
          </p:cNvSpPr>
          <p:nvPr/>
        </p:nvSpPr>
        <p:spPr>
          <a:xfrm>
            <a:off x="469240" y="270326"/>
            <a:ext cx="8839860" cy="5539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 dirty="0"/>
              <a:t>Drøyt 4 av 10 kommuner tror bruk av KI kan støtte i arbeidet med bærekraftig omstilling </a:t>
            </a:r>
          </a:p>
        </p:txBody>
      </p:sp>
      <p:pic>
        <p:nvPicPr>
          <p:cNvPr id="3" name="logo_blaa">
            <a:extLst>
              <a:ext uri="{FF2B5EF4-FFF2-40B4-BE49-F238E27FC236}">
                <a16:creationId xmlns:a16="http://schemas.microsoft.com/office/drawing/2014/main" id="{8FD44118-F16C-780D-A5C3-3F564CB694E6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2" name="Frihåndsform: figur 1">
            <a:extLst>
              <a:ext uri="{FF2B5EF4-FFF2-40B4-BE49-F238E27FC236}">
                <a16:creationId xmlns:a16="http://schemas.microsoft.com/office/drawing/2014/main" id="{AD5D69AC-2C19-D002-7086-EC8C423FA809}"/>
              </a:ext>
            </a:extLst>
          </p:cNvPr>
          <p:cNvSpPr/>
          <p:nvPr/>
        </p:nvSpPr>
        <p:spPr>
          <a:xfrm>
            <a:off x="8914196" y="0"/>
            <a:ext cx="3277803" cy="2962134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16"/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15483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: avrundede hjørner diagonalt 15">
            <a:extLst>
              <a:ext uri="{FF2B5EF4-FFF2-40B4-BE49-F238E27FC236}">
                <a16:creationId xmlns:a16="http://schemas.microsoft.com/office/drawing/2014/main" id="{4863B0D7-0DCE-F6BA-8C00-45CC5804699C}"/>
              </a:ext>
            </a:extLst>
          </p:cNvPr>
          <p:cNvSpPr/>
          <p:nvPr/>
        </p:nvSpPr>
        <p:spPr>
          <a:xfrm>
            <a:off x="626287" y="1712476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Strategi</a:t>
            </a:r>
          </a:p>
        </p:txBody>
      </p:sp>
      <p:sp>
        <p:nvSpPr>
          <p:cNvPr id="18" name="Rektangel: avrundede hjørner diagonalt 17">
            <a:extLst>
              <a:ext uri="{FF2B5EF4-FFF2-40B4-BE49-F238E27FC236}">
                <a16:creationId xmlns:a16="http://schemas.microsoft.com/office/drawing/2014/main" id="{EDDFE4F8-336D-47E3-6D24-516DEAB3FEB9}"/>
              </a:ext>
            </a:extLst>
          </p:cNvPr>
          <p:cNvSpPr/>
          <p:nvPr/>
        </p:nvSpPr>
        <p:spPr>
          <a:xfrm>
            <a:off x="626287" y="2685387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Innovasjon, kunder og marked</a:t>
            </a:r>
          </a:p>
        </p:txBody>
      </p:sp>
      <p:sp>
        <p:nvSpPr>
          <p:cNvPr id="19" name="Rektangel: avrundede hjørner diagonalt 18">
            <a:extLst>
              <a:ext uri="{FF2B5EF4-FFF2-40B4-BE49-F238E27FC236}">
                <a16:creationId xmlns:a16="http://schemas.microsoft.com/office/drawing/2014/main" id="{C912209D-AC8B-C81D-FABD-7AB5C9EF0892}"/>
              </a:ext>
            </a:extLst>
          </p:cNvPr>
          <p:cNvSpPr/>
          <p:nvPr/>
        </p:nvSpPr>
        <p:spPr>
          <a:xfrm>
            <a:off x="626287" y="3658298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Kompetanse</a:t>
            </a:r>
          </a:p>
        </p:txBody>
      </p:sp>
      <p:sp>
        <p:nvSpPr>
          <p:cNvPr id="20" name="Rektangel: avrundede hjørner diagonalt 19">
            <a:extLst>
              <a:ext uri="{FF2B5EF4-FFF2-40B4-BE49-F238E27FC236}">
                <a16:creationId xmlns:a16="http://schemas.microsoft.com/office/drawing/2014/main" id="{17D22BF5-A214-1915-566E-B058C54CB6AE}"/>
              </a:ext>
            </a:extLst>
          </p:cNvPr>
          <p:cNvSpPr/>
          <p:nvPr/>
        </p:nvSpPr>
        <p:spPr>
          <a:xfrm>
            <a:off x="626287" y="4631209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Fremtid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ADD11C62-9922-08BA-A996-937B4BB099E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3" name="Frihåndsform: figur 2">
            <a:extLst>
              <a:ext uri="{FF2B5EF4-FFF2-40B4-BE49-F238E27FC236}">
                <a16:creationId xmlns:a16="http://schemas.microsoft.com/office/drawing/2014/main" id="{FD942A78-B56C-AB56-4341-2D0D61947FDC}"/>
              </a:ext>
            </a:extLst>
          </p:cNvPr>
          <p:cNvSpPr/>
          <p:nvPr/>
        </p:nvSpPr>
        <p:spPr>
          <a:xfrm>
            <a:off x="7536546" y="0"/>
            <a:ext cx="4655454" cy="4354951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3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86549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75E816-5DFF-B94D-B56D-81261A9D52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475E816-5DFF-B94D-B56D-81261A9D5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C29CDDA-8F5B-9AD6-1FB7-8622363C5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562" y="333096"/>
            <a:ext cx="11037095" cy="553998"/>
          </a:xfrm>
        </p:spPr>
        <p:txBody>
          <a:bodyPr vert="horz"/>
          <a:lstStyle/>
          <a:p>
            <a:r>
              <a:rPr lang="nb-NO" sz="3200" dirty="0"/>
              <a:t>Knapt halvparten av midtnorske kommuner tror bærekraft i stor grad vil styrke kommunens økonomi de neste fem årene   </a:t>
            </a:r>
          </a:p>
        </p:txBody>
      </p:sp>
      <p:sp>
        <p:nvSpPr>
          <p:cNvPr id="2069" name="Tittel 1">
            <a:extLst>
              <a:ext uri="{FF2B5EF4-FFF2-40B4-BE49-F238E27FC236}">
                <a16:creationId xmlns:a16="http://schemas.microsoft.com/office/drawing/2014/main" id="{94930BBA-AE81-AD8D-961C-5673ECD49B13}"/>
              </a:ext>
            </a:extLst>
          </p:cNvPr>
          <p:cNvSpPr txBox="1">
            <a:spLocks/>
          </p:cNvSpPr>
          <p:nvPr/>
        </p:nvSpPr>
        <p:spPr>
          <a:xfrm>
            <a:off x="436562" y="1450158"/>
            <a:ext cx="10478180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6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600" dirty="0"/>
              <a:t>:  Hvordan tror du bærekraft vil påvirke din kommunes økonomi de neste </a:t>
            </a:r>
            <a:r>
              <a:rPr lang="nb-NO" sz="1600" u="sng" dirty="0"/>
              <a:t>fem</a:t>
            </a:r>
            <a:r>
              <a:rPr lang="nb-NO" sz="1600" dirty="0"/>
              <a:t> årene?</a:t>
            </a:r>
          </a:p>
        </p:txBody>
      </p:sp>
      <p:sp>
        <p:nvSpPr>
          <p:cNvPr id="4" name="Grunt object bb38e472f07b04a949b5062ebe3b5c0c-svg">
            <a:extLst>
              <a:ext uri="{FF2B5EF4-FFF2-40B4-BE49-F238E27FC236}">
                <a16:creationId xmlns:a16="http://schemas.microsoft.com/office/drawing/2014/main" id="{CD96AEED-E975-C5C0-F451-64C82D2F86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011024" y="2211996"/>
            <a:ext cx="4329148" cy="1308705"/>
          </a:xfrm>
          <a:prstGeom prst="rect">
            <a:avLst/>
          </a:prstGeom>
          <a:blipFill dpi="0" rotWithShape="1"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9" name="Tittel 1">
            <a:extLst>
              <a:ext uri="{FF2B5EF4-FFF2-40B4-BE49-F238E27FC236}">
                <a16:creationId xmlns:a16="http://schemas.microsoft.com/office/drawing/2014/main" id="{F07466D3-2766-B112-6BE9-4630CD268532}"/>
              </a:ext>
            </a:extLst>
          </p:cNvPr>
          <p:cNvSpPr txBox="1">
            <a:spLocks/>
          </p:cNvSpPr>
          <p:nvPr/>
        </p:nvSpPr>
        <p:spPr>
          <a:xfrm>
            <a:off x="436562" y="1827996"/>
            <a:ext cx="2337789" cy="2352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600" dirty="0"/>
              <a:t>Svar: Økning (%)</a:t>
            </a:r>
          </a:p>
        </p:txBody>
      </p:sp>
      <p:pic>
        <p:nvPicPr>
          <p:cNvPr id="99" name="logo_blaa">
            <a:extLst>
              <a:ext uri="{FF2B5EF4-FFF2-40B4-BE49-F238E27FC236}">
                <a16:creationId xmlns:a16="http://schemas.microsoft.com/office/drawing/2014/main" id="{ABEA95A9-73C2-F5F3-A14A-ACFFFC1E6D39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6119570"/>
            <a:ext cx="2667000" cy="560754"/>
          </a:xfrm>
          <a:prstGeom prst="rect">
            <a:avLst/>
          </a:prstGeom>
        </p:spPr>
      </p:pic>
      <p:sp>
        <p:nvSpPr>
          <p:cNvPr id="36" name="Plassholder for bunntekst 3">
            <a:extLst>
              <a:ext uri="{FF2B5EF4-FFF2-40B4-BE49-F238E27FC236}">
                <a16:creationId xmlns:a16="http://schemas.microsoft.com/office/drawing/2014/main" id="{C2BFD79C-3CED-B07F-8A5D-ED4A4A937F40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Grunt object 9a51f9c16229036c93177f27b624166b-svg">
            <a:extLst>
              <a:ext uri="{FF2B5EF4-FFF2-40B4-BE49-F238E27FC236}">
                <a16:creationId xmlns:a16="http://schemas.microsoft.com/office/drawing/2014/main" id="{7B13A964-5CEF-BE0D-2EBA-2E7F39F82A8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317901" y="1902781"/>
            <a:ext cx="5365468" cy="1800799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Grunt object ada399a6166e4bc9a3f4ba623e7b7f71-svg">
            <a:extLst>
              <a:ext uri="{FF2B5EF4-FFF2-40B4-BE49-F238E27FC236}">
                <a16:creationId xmlns:a16="http://schemas.microsoft.com/office/drawing/2014/main" id="{68B5F5A0-B3EE-BCB3-918F-79240A95D81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264390" y="5030388"/>
            <a:ext cx="4075782" cy="949803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Grunt object d3ff51205aeb9219414572823c863c15-svg">
            <a:extLst>
              <a:ext uri="{FF2B5EF4-FFF2-40B4-BE49-F238E27FC236}">
                <a16:creationId xmlns:a16="http://schemas.microsoft.com/office/drawing/2014/main" id="{47E1185E-35E7-5BBC-8F06-078AD3D73EE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317901" y="4627522"/>
            <a:ext cx="5365468" cy="1535548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FBE181DA-C032-DA2D-C916-886539D022CB}"/>
              </a:ext>
            </a:extLst>
          </p:cNvPr>
          <p:cNvCxnSpPr>
            <a:cxnSpLocks/>
          </p:cNvCxnSpPr>
          <p:nvPr/>
        </p:nvCxnSpPr>
        <p:spPr>
          <a:xfrm>
            <a:off x="401161" y="3801541"/>
            <a:ext cx="1138967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tel 1">
            <a:extLst>
              <a:ext uri="{FF2B5EF4-FFF2-40B4-BE49-F238E27FC236}">
                <a16:creationId xmlns:a16="http://schemas.microsoft.com/office/drawing/2014/main" id="{312248A5-E5FA-EBAF-F847-6260FF908B64}"/>
              </a:ext>
            </a:extLst>
          </p:cNvPr>
          <p:cNvSpPr txBox="1">
            <a:spLocks/>
          </p:cNvSpPr>
          <p:nvPr/>
        </p:nvSpPr>
        <p:spPr>
          <a:xfrm>
            <a:off x="429277" y="3998982"/>
            <a:ext cx="9016059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6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600" dirty="0"/>
              <a:t>: Hvordan tror du bærekraft vil påvirke antall arbeidsplasser i kommunen de neste </a:t>
            </a:r>
            <a:r>
              <a:rPr lang="nb-NO" sz="1600" u="sng" dirty="0"/>
              <a:t>fem</a:t>
            </a:r>
            <a:r>
              <a:rPr lang="nb-NO" sz="1600" dirty="0"/>
              <a:t> årene?</a:t>
            </a:r>
          </a:p>
        </p:txBody>
      </p:sp>
      <p:sp>
        <p:nvSpPr>
          <p:cNvPr id="16" name="Tittel 1">
            <a:extLst>
              <a:ext uri="{FF2B5EF4-FFF2-40B4-BE49-F238E27FC236}">
                <a16:creationId xmlns:a16="http://schemas.microsoft.com/office/drawing/2014/main" id="{A6A43935-95F3-EF95-49F9-28F4513D0B6A}"/>
              </a:ext>
            </a:extLst>
          </p:cNvPr>
          <p:cNvSpPr txBox="1">
            <a:spLocks/>
          </p:cNvSpPr>
          <p:nvPr/>
        </p:nvSpPr>
        <p:spPr>
          <a:xfrm>
            <a:off x="436562" y="4317682"/>
            <a:ext cx="2337789" cy="2352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600" dirty="0"/>
              <a:t>Svar: Økning (%)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5BAF16BF-CE0A-23B3-090D-48E4392481D1}"/>
              </a:ext>
            </a:extLst>
          </p:cNvPr>
          <p:cNvSpPr txBox="1"/>
          <p:nvPr/>
        </p:nvSpPr>
        <p:spPr>
          <a:xfrm>
            <a:off x="11388436" y="1705997"/>
            <a:ext cx="9164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/>
              <a:t>2024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2F1D932F-59C8-BC2A-5C85-BA7C99E3C443}"/>
              </a:ext>
            </a:extLst>
          </p:cNvPr>
          <p:cNvSpPr/>
          <p:nvPr/>
        </p:nvSpPr>
        <p:spPr>
          <a:xfrm>
            <a:off x="11076709" y="4190264"/>
            <a:ext cx="280554" cy="1714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BC9DAF70-1064-C62A-CDE5-68DAE83BD963}"/>
              </a:ext>
            </a:extLst>
          </p:cNvPr>
          <p:cNvSpPr txBox="1"/>
          <p:nvPr/>
        </p:nvSpPr>
        <p:spPr>
          <a:xfrm>
            <a:off x="11388436" y="4163754"/>
            <a:ext cx="9164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/>
              <a:t>2024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B84A256C-AB88-71E1-2D0D-70DA8DE6F9F0}"/>
              </a:ext>
            </a:extLst>
          </p:cNvPr>
          <p:cNvSpPr/>
          <p:nvPr/>
        </p:nvSpPr>
        <p:spPr>
          <a:xfrm>
            <a:off x="11107882" y="1735696"/>
            <a:ext cx="280554" cy="1714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21F4F16C-1299-F00E-D72D-1E5F696AAEF9}"/>
              </a:ext>
            </a:extLst>
          </p:cNvPr>
          <p:cNvSpPr txBox="1"/>
          <p:nvPr/>
        </p:nvSpPr>
        <p:spPr>
          <a:xfrm>
            <a:off x="1738378" y="5294296"/>
            <a:ext cx="4058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100" dirty="0"/>
              <a:t>n/a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853FB44-3D56-F4B6-BF7A-0BF4545A3E85}"/>
              </a:ext>
            </a:extLst>
          </p:cNvPr>
          <p:cNvSpPr txBox="1"/>
          <p:nvPr/>
        </p:nvSpPr>
        <p:spPr>
          <a:xfrm>
            <a:off x="3120138" y="5294296"/>
            <a:ext cx="4058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100" dirty="0"/>
              <a:t>n/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29310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54A37C32-67CD-4791-9D3A-9B87E1B006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54A37C32-67CD-4791-9D3A-9B87E1B00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ktangel 37" hidden="1">
            <a:extLst>
              <a:ext uri="{FF2B5EF4-FFF2-40B4-BE49-F238E27FC236}">
                <a16:creationId xmlns:a16="http://schemas.microsoft.com/office/drawing/2014/main" id="{B1B10DC0-9317-4EAD-BAD9-6B9F3A3AF91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pareBank 1 Light" panose="020B0500030000000000" pitchFamily="34" charset="0"/>
              <a:ea typeface="+mn-ea"/>
              <a:cs typeface="+mn-cs"/>
              <a:sym typeface="SpareBank 1 Light" panose="020B0500030000000000" pitchFamily="34" charset="0"/>
            </a:endParaRPr>
          </a:p>
        </p:txBody>
      </p:sp>
      <p:pic>
        <p:nvPicPr>
          <p:cNvPr id="22" name="Plassholder for bilde 21">
            <a:extLst>
              <a:ext uri="{FF2B5EF4-FFF2-40B4-BE49-F238E27FC236}">
                <a16:creationId xmlns:a16="http://schemas.microsoft.com/office/drawing/2014/main" id="{BF032E20-7335-4CCC-B22C-C06195C923DA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36" name="Plassholder for tekst 35">
            <a:extLst>
              <a:ext uri="{FF2B5EF4-FFF2-40B4-BE49-F238E27FC236}">
                <a16:creationId xmlns:a16="http://schemas.microsoft.com/office/drawing/2014/main" id="{02034AB9-80CC-4C66-A590-B81902E9304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 flipH="1">
            <a:off x="4197531" y="3746500"/>
            <a:ext cx="7994469" cy="3111500"/>
          </a:xfrm>
          <a:solidFill>
            <a:srgbClr val="005AA4"/>
          </a:solidFill>
        </p:spPr>
        <p:txBody>
          <a:bodyPr/>
          <a:lstStyle/>
          <a:p>
            <a:endParaRPr lang="nb-NO" dirty="0"/>
          </a:p>
        </p:txBody>
      </p:sp>
      <p:sp>
        <p:nvSpPr>
          <p:cNvPr id="33" name="Tittel 32">
            <a:extLst>
              <a:ext uri="{FF2B5EF4-FFF2-40B4-BE49-F238E27FC236}">
                <a16:creationId xmlns:a16="http://schemas.microsoft.com/office/drawing/2014/main" id="{AD1B64CB-419A-4045-9E64-C562D25B3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7135" y="5471822"/>
            <a:ext cx="7631653" cy="235793"/>
          </a:xfrm>
        </p:spPr>
        <p:txBody>
          <a:bodyPr/>
          <a:lstStyle/>
          <a:p>
            <a:r>
              <a:rPr lang="nb-NO" sz="4000" dirty="0">
                <a:solidFill>
                  <a:srgbClr val="FFFFFF"/>
                </a:solidFill>
                <a:latin typeface="SpareBank 1 Light" panose="020B0500030000000000" pitchFamily="34" charset="0"/>
                <a:ea typeface="+mn-ea"/>
                <a:cs typeface="+mn-cs"/>
              </a:rPr>
              <a:t>Sammen får vi ting til å skje!</a:t>
            </a:r>
            <a:br>
              <a:rPr lang="nb-NO" sz="4000" dirty="0">
                <a:solidFill>
                  <a:srgbClr val="FFFFFF"/>
                </a:solidFill>
                <a:latin typeface="SpareBank 1 Light" panose="020B0500030000000000" pitchFamily="34" charset="0"/>
                <a:ea typeface="+mn-ea"/>
                <a:cs typeface="+mn-cs"/>
              </a:rPr>
            </a:br>
            <a:r>
              <a:rPr lang="nb-NO" sz="1600" dirty="0">
                <a:solidFill>
                  <a:srgbClr val="FFFFFF"/>
                </a:solidFill>
                <a:latin typeface="SpareBank 1 Light" panose="020B0500030000000000" pitchFamily="34" charset="0"/>
                <a:ea typeface="+mn-ea"/>
                <a:cs typeface="+mn-cs"/>
              </a:rPr>
              <a:t>- Les mer om konsernets arbeid med bærekraft på smn.no/bærekraft </a:t>
            </a:r>
          </a:p>
        </p:txBody>
      </p:sp>
      <p:pic>
        <p:nvPicPr>
          <p:cNvPr id="4" name="logo_hvit" descr="Et bilde som inneholder tekst, utklipp&#10;&#10;Automatisk generert beskrivelse" hidden="1">
            <a:extLst>
              <a:ext uri="{FF2B5EF4-FFF2-40B4-BE49-F238E27FC236}">
                <a16:creationId xmlns:a16="http://schemas.microsoft.com/office/drawing/2014/main" id="{662DE954-E33E-AA7B-B8BF-2562E6417A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4966" y="6398341"/>
            <a:ext cx="1735008" cy="396000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1C2D0A60-F1A3-A23A-01A7-A04911C2E6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91612" y="6085747"/>
            <a:ext cx="2670279" cy="56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78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Bilde 21">
            <a:extLst>
              <a:ext uri="{FF2B5EF4-FFF2-40B4-BE49-F238E27FC236}">
                <a16:creationId xmlns:a16="http://schemas.microsoft.com/office/drawing/2014/main" id="{39848809-78B7-4A6D-D668-9D2BD58F73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2824" y="1"/>
            <a:ext cx="4989176" cy="2849587"/>
          </a:xfrm>
          <a:prstGeom prst="rect">
            <a:avLst/>
          </a:prstGeom>
        </p:spPr>
      </p:pic>
      <p:sp>
        <p:nvSpPr>
          <p:cNvPr id="62" name="Rektangel: avrundede hjørner 61">
            <a:extLst>
              <a:ext uri="{FF2B5EF4-FFF2-40B4-BE49-F238E27FC236}">
                <a16:creationId xmlns:a16="http://schemas.microsoft.com/office/drawing/2014/main" id="{5AB5C759-B13B-6717-665A-4800725F469F}"/>
              </a:ext>
            </a:extLst>
          </p:cNvPr>
          <p:cNvSpPr/>
          <p:nvPr/>
        </p:nvSpPr>
        <p:spPr>
          <a:xfrm>
            <a:off x="4075093" y="2733612"/>
            <a:ext cx="5556660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406906B-9C5D-6C9F-E0FF-976F37C17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406906B-9C5D-6C9F-E0FF-976F37C17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89800C7-569D-A158-F1FB-375847331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196" y="386555"/>
            <a:ext cx="11037095" cy="553998"/>
          </a:xfrm>
        </p:spPr>
        <p:txBody>
          <a:bodyPr vert="horz"/>
          <a:lstStyle/>
          <a:p>
            <a:r>
              <a:rPr lang="nb-NO" sz="3200" dirty="0">
                <a:solidFill>
                  <a:schemeClr val="bg1"/>
                </a:solidFill>
              </a:rPr>
              <a:t>Årets bærekraftbarometer viser at… 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F53CDD9E-1BB0-77B1-88A7-9529F5175A2D}"/>
              </a:ext>
            </a:extLst>
          </p:cNvPr>
          <p:cNvSpPr txBox="1"/>
          <p:nvPr/>
        </p:nvSpPr>
        <p:spPr>
          <a:xfrm>
            <a:off x="4091978" y="2805299"/>
            <a:ext cx="593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23: Små og mellomstore bedrifter sakker akter ut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3929640-8DE8-9D7E-99FF-BA55889F8B75}"/>
              </a:ext>
            </a:extLst>
          </p:cNvPr>
          <p:cNvSpPr txBox="1"/>
          <p:nvPr/>
        </p:nvSpPr>
        <p:spPr>
          <a:xfrm>
            <a:off x="343701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23</a:t>
            </a: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6E4C56A0-2ABB-9F14-1478-AF7FF540AFAC}"/>
              </a:ext>
            </a:extLst>
          </p:cNvPr>
          <p:cNvSpPr txBox="1"/>
          <p:nvPr/>
        </p:nvSpPr>
        <p:spPr>
          <a:xfrm>
            <a:off x="448972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24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9CC88BB1-6F58-3E03-64BC-FE33FB0C78EB}"/>
              </a:ext>
            </a:extLst>
          </p:cNvPr>
          <p:cNvSpPr txBox="1"/>
          <p:nvPr/>
        </p:nvSpPr>
        <p:spPr>
          <a:xfrm>
            <a:off x="554244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5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ECCABFC0-A652-9B9B-0CB5-17412B34B785}"/>
              </a:ext>
            </a:extLst>
          </p:cNvPr>
          <p:cNvSpPr txBox="1"/>
          <p:nvPr/>
        </p:nvSpPr>
        <p:spPr>
          <a:xfrm>
            <a:off x="659515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6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FF684E4B-5173-55D0-034A-FB5BA77F8962}"/>
              </a:ext>
            </a:extLst>
          </p:cNvPr>
          <p:cNvSpPr txBox="1"/>
          <p:nvPr/>
        </p:nvSpPr>
        <p:spPr>
          <a:xfrm>
            <a:off x="764787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7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2CFD62F9-A562-B2CF-5E0C-72A0A8DE94AB}"/>
              </a:ext>
            </a:extLst>
          </p:cNvPr>
          <p:cNvSpPr txBox="1"/>
          <p:nvPr/>
        </p:nvSpPr>
        <p:spPr>
          <a:xfrm>
            <a:off x="870058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8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946B5CF1-48C3-683C-D27B-22830454BAD7}"/>
              </a:ext>
            </a:extLst>
          </p:cNvPr>
          <p:cNvSpPr txBox="1"/>
          <p:nvPr/>
        </p:nvSpPr>
        <p:spPr>
          <a:xfrm>
            <a:off x="975330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29</a:t>
            </a:r>
          </a:p>
        </p:txBody>
      </p:sp>
      <p:sp>
        <p:nvSpPr>
          <p:cNvPr id="28" name="TekstSylinder 27">
            <a:extLst>
              <a:ext uri="{FF2B5EF4-FFF2-40B4-BE49-F238E27FC236}">
                <a16:creationId xmlns:a16="http://schemas.microsoft.com/office/drawing/2014/main" id="{2EFEF36E-2013-0A57-11E6-984EC1E47522}"/>
              </a:ext>
            </a:extLst>
          </p:cNvPr>
          <p:cNvSpPr txBox="1"/>
          <p:nvPr/>
        </p:nvSpPr>
        <p:spPr>
          <a:xfrm>
            <a:off x="10806013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rgbClr val="9E9E9E"/>
                </a:solidFill>
                <a:latin typeface="SpareBank 1 Medium" panose="020B0500030000000000" pitchFamily="34" charset="0"/>
              </a:rPr>
              <a:t>2030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BC2BCAA8-5A7D-3842-73B6-B27767B41B5D}"/>
              </a:ext>
            </a:extLst>
          </p:cNvPr>
          <p:cNvSpPr/>
          <p:nvPr/>
        </p:nvSpPr>
        <p:spPr>
          <a:xfrm>
            <a:off x="3850885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9DB14A98-3591-BA0F-A208-A94FCDCFE6BD}"/>
              </a:ext>
            </a:extLst>
          </p:cNvPr>
          <p:cNvSpPr/>
          <p:nvPr/>
        </p:nvSpPr>
        <p:spPr>
          <a:xfrm>
            <a:off x="4902841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48" name="Kobling: vinkel 47">
            <a:extLst>
              <a:ext uri="{FF2B5EF4-FFF2-40B4-BE49-F238E27FC236}">
                <a16:creationId xmlns:a16="http://schemas.microsoft.com/office/drawing/2014/main" id="{926207D4-15C5-2E4E-8EA7-2EE790DF35EB}"/>
              </a:ext>
            </a:extLst>
          </p:cNvPr>
          <p:cNvCxnSpPr>
            <a:cxnSpLocks/>
            <a:stCxn id="62" idx="1"/>
            <a:endCxn id="30" idx="0"/>
          </p:cNvCxnSpPr>
          <p:nvPr/>
        </p:nvCxnSpPr>
        <p:spPr>
          <a:xfrm rot="10800000" flipV="1">
            <a:off x="3900317" y="2933667"/>
            <a:ext cx="174776" cy="2279789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Kobling: vinkel 53">
            <a:extLst>
              <a:ext uri="{FF2B5EF4-FFF2-40B4-BE49-F238E27FC236}">
                <a16:creationId xmlns:a16="http://schemas.microsoft.com/office/drawing/2014/main" id="{1C781344-AA14-0168-FB9C-F827978B9555}"/>
              </a:ext>
            </a:extLst>
          </p:cNvPr>
          <p:cNvCxnSpPr>
            <a:cxnSpLocks/>
            <a:stCxn id="71" idx="1"/>
            <a:endCxn id="32" idx="0"/>
          </p:cNvCxnSpPr>
          <p:nvPr/>
        </p:nvCxnSpPr>
        <p:spPr>
          <a:xfrm rot="10800000" flipV="1">
            <a:off x="4952274" y="3470085"/>
            <a:ext cx="204109" cy="1743372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Bilde 58">
            <a:extLst>
              <a:ext uri="{FF2B5EF4-FFF2-40B4-BE49-F238E27FC236}">
                <a16:creationId xmlns:a16="http://schemas.microsoft.com/office/drawing/2014/main" id="{1F40B700-9779-F616-1353-A26A6FC4C4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3596" y="6024425"/>
            <a:ext cx="2670279" cy="560881"/>
          </a:xfrm>
          <a:prstGeom prst="rect">
            <a:avLst/>
          </a:prstGeom>
        </p:spPr>
      </p:pic>
      <p:sp>
        <p:nvSpPr>
          <p:cNvPr id="70" name="Rektangel: avrundede hjørner 69">
            <a:extLst>
              <a:ext uri="{FF2B5EF4-FFF2-40B4-BE49-F238E27FC236}">
                <a16:creationId xmlns:a16="http://schemas.microsoft.com/office/drawing/2014/main" id="{223E251C-B339-FEDA-B863-6F7A1A1C9AED}"/>
              </a:ext>
            </a:extLst>
          </p:cNvPr>
          <p:cNvSpPr/>
          <p:nvPr/>
        </p:nvSpPr>
        <p:spPr>
          <a:xfrm>
            <a:off x="5139496" y="3259898"/>
            <a:ext cx="5349828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/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BF8157F1-9168-AD14-297F-475068134F67}"/>
              </a:ext>
            </a:extLst>
          </p:cNvPr>
          <p:cNvSpPr txBox="1"/>
          <p:nvPr/>
        </p:nvSpPr>
        <p:spPr>
          <a:xfrm>
            <a:off x="5156382" y="3331585"/>
            <a:ext cx="55431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24: Lønnsomhet er den viktigste barrieren for grønn omstilling</a:t>
            </a: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80949136-EE0C-CDF1-B94E-74A78B6C2E22}"/>
              </a:ext>
            </a:extLst>
          </p:cNvPr>
          <p:cNvSpPr/>
          <p:nvPr/>
        </p:nvSpPr>
        <p:spPr>
          <a:xfrm>
            <a:off x="5954797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640AD4F3-5F59-1647-6D2D-1B664BE62F7D}"/>
              </a:ext>
            </a:extLst>
          </p:cNvPr>
          <p:cNvSpPr/>
          <p:nvPr/>
        </p:nvSpPr>
        <p:spPr>
          <a:xfrm>
            <a:off x="7006753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6BA43BE7-41B9-DC70-4FFA-99CA5DD31056}"/>
              </a:ext>
            </a:extLst>
          </p:cNvPr>
          <p:cNvSpPr/>
          <p:nvPr/>
        </p:nvSpPr>
        <p:spPr>
          <a:xfrm>
            <a:off x="8058709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C14C501C-2048-5058-B2E8-006CD7BB4551}"/>
              </a:ext>
            </a:extLst>
          </p:cNvPr>
          <p:cNvSpPr/>
          <p:nvPr/>
        </p:nvSpPr>
        <p:spPr>
          <a:xfrm>
            <a:off x="9110665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94AFC5F3-D368-9A10-77AF-9575BC07CDA7}"/>
              </a:ext>
            </a:extLst>
          </p:cNvPr>
          <p:cNvSpPr/>
          <p:nvPr/>
        </p:nvSpPr>
        <p:spPr>
          <a:xfrm>
            <a:off x="10162621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6D51F486-35E7-4312-71A8-5CE20E2B7572}"/>
              </a:ext>
            </a:extLst>
          </p:cNvPr>
          <p:cNvSpPr/>
          <p:nvPr/>
        </p:nvSpPr>
        <p:spPr>
          <a:xfrm>
            <a:off x="11214581" y="5213457"/>
            <a:ext cx="98864" cy="93409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3" name="Rektangel: avrundede hjørner 82">
            <a:extLst>
              <a:ext uri="{FF2B5EF4-FFF2-40B4-BE49-F238E27FC236}">
                <a16:creationId xmlns:a16="http://schemas.microsoft.com/office/drawing/2014/main" id="{EF75F574-9602-24CA-A11D-BC05A6562DAE}"/>
              </a:ext>
            </a:extLst>
          </p:cNvPr>
          <p:cNvSpPr/>
          <p:nvPr/>
        </p:nvSpPr>
        <p:spPr>
          <a:xfrm>
            <a:off x="923397" y="1164160"/>
            <a:ext cx="6370781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4" name="TekstSylinder 83">
            <a:extLst>
              <a:ext uri="{FF2B5EF4-FFF2-40B4-BE49-F238E27FC236}">
                <a16:creationId xmlns:a16="http://schemas.microsoft.com/office/drawing/2014/main" id="{FF5E2C2E-D3F6-965E-BE75-F66F64E2D22E}"/>
              </a:ext>
            </a:extLst>
          </p:cNvPr>
          <p:cNvSpPr txBox="1"/>
          <p:nvPr/>
        </p:nvSpPr>
        <p:spPr>
          <a:xfrm>
            <a:off x="27886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19</a:t>
            </a:r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5783DD1C-159E-04D3-434C-1C0A669C3449}"/>
              </a:ext>
            </a:extLst>
          </p:cNvPr>
          <p:cNvSpPr/>
          <p:nvPr/>
        </p:nvSpPr>
        <p:spPr>
          <a:xfrm>
            <a:off x="695017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86" name="Kobling: vinkel 85">
            <a:extLst>
              <a:ext uri="{FF2B5EF4-FFF2-40B4-BE49-F238E27FC236}">
                <a16:creationId xmlns:a16="http://schemas.microsoft.com/office/drawing/2014/main" id="{A666A095-0C63-1C3A-CE49-24AA19A72ECF}"/>
              </a:ext>
            </a:extLst>
          </p:cNvPr>
          <p:cNvCxnSpPr>
            <a:cxnSpLocks/>
            <a:stCxn id="83" idx="1"/>
            <a:endCxn id="85" idx="0"/>
          </p:cNvCxnSpPr>
          <p:nvPr/>
        </p:nvCxnSpPr>
        <p:spPr>
          <a:xfrm rot="10800000" flipV="1">
            <a:off x="744449" y="1364215"/>
            <a:ext cx="178948" cy="3849241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2E3BD76D-BDE9-2657-8502-453649E9DD22}"/>
              </a:ext>
            </a:extLst>
          </p:cNvPr>
          <p:cNvSpPr txBox="1"/>
          <p:nvPr/>
        </p:nvSpPr>
        <p:spPr>
          <a:xfrm>
            <a:off x="988383" y="1224035"/>
            <a:ext cx="64739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19: Avventende holdning til forretningsmessig risiko knyttet til bærekraft</a:t>
            </a:r>
            <a:endParaRPr lang="nb-NO" sz="1600" b="1" dirty="0">
              <a:latin typeface="+mj-lt"/>
            </a:endParaRPr>
          </a:p>
        </p:txBody>
      </p:sp>
      <p:sp>
        <p:nvSpPr>
          <p:cNvPr id="96" name="Rektangel: avrundede hjørner 95">
            <a:extLst>
              <a:ext uri="{FF2B5EF4-FFF2-40B4-BE49-F238E27FC236}">
                <a16:creationId xmlns:a16="http://schemas.microsoft.com/office/drawing/2014/main" id="{A8CCE9A3-8462-4705-92CA-7E1485EDDED9}"/>
              </a:ext>
            </a:extLst>
          </p:cNvPr>
          <p:cNvSpPr/>
          <p:nvPr/>
        </p:nvSpPr>
        <p:spPr>
          <a:xfrm>
            <a:off x="1970700" y="1694902"/>
            <a:ext cx="6088009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7" name="TekstSylinder 96">
            <a:extLst>
              <a:ext uri="{FF2B5EF4-FFF2-40B4-BE49-F238E27FC236}">
                <a16:creationId xmlns:a16="http://schemas.microsoft.com/office/drawing/2014/main" id="{668E9C9A-2F77-4271-210F-A6F645CEE8BC}"/>
              </a:ext>
            </a:extLst>
          </p:cNvPr>
          <p:cNvSpPr txBox="1"/>
          <p:nvPr/>
        </p:nvSpPr>
        <p:spPr>
          <a:xfrm>
            <a:off x="2029624" y="1763280"/>
            <a:ext cx="593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20: Arbeidet med langsiktig grønn omstilling bør intensiveres</a:t>
            </a:r>
          </a:p>
        </p:txBody>
      </p:sp>
      <p:sp>
        <p:nvSpPr>
          <p:cNvPr id="98" name="TekstSylinder 97">
            <a:extLst>
              <a:ext uri="{FF2B5EF4-FFF2-40B4-BE49-F238E27FC236}">
                <a16:creationId xmlns:a16="http://schemas.microsoft.com/office/drawing/2014/main" id="{218EBF32-4147-4012-53E4-46CEEC41CC78}"/>
              </a:ext>
            </a:extLst>
          </p:cNvPr>
          <p:cNvSpPr txBox="1"/>
          <p:nvPr/>
        </p:nvSpPr>
        <p:spPr>
          <a:xfrm>
            <a:off x="1331581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20</a:t>
            </a:r>
          </a:p>
        </p:txBody>
      </p:sp>
      <p:sp>
        <p:nvSpPr>
          <p:cNvPr id="99" name="Ellipse 98">
            <a:extLst>
              <a:ext uri="{FF2B5EF4-FFF2-40B4-BE49-F238E27FC236}">
                <a16:creationId xmlns:a16="http://schemas.microsoft.com/office/drawing/2014/main" id="{1246DDCE-13EF-7C2F-C694-84329B1C0CB5}"/>
              </a:ext>
            </a:extLst>
          </p:cNvPr>
          <p:cNvSpPr/>
          <p:nvPr/>
        </p:nvSpPr>
        <p:spPr>
          <a:xfrm>
            <a:off x="1746973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0" name="Kobling: vinkel 99">
            <a:extLst>
              <a:ext uri="{FF2B5EF4-FFF2-40B4-BE49-F238E27FC236}">
                <a16:creationId xmlns:a16="http://schemas.microsoft.com/office/drawing/2014/main" id="{89C59EB7-7B9A-DD59-42FA-799F0B9A191A}"/>
              </a:ext>
            </a:extLst>
          </p:cNvPr>
          <p:cNvCxnSpPr>
            <a:cxnSpLocks/>
            <a:stCxn id="96" idx="1"/>
            <a:endCxn id="99" idx="0"/>
          </p:cNvCxnSpPr>
          <p:nvPr/>
        </p:nvCxnSpPr>
        <p:spPr>
          <a:xfrm rot="10800000" flipV="1">
            <a:off x="1796406" y="1894957"/>
            <a:ext cx="174295" cy="3318499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kstSylinder 101">
            <a:extLst>
              <a:ext uri="{FF2B5EF4-FFF2-40B4-BE49-F238E27FC236}">
                <a16:creationId xmlns:a16="http://schemas.microsoft.com/office/drawing/2014/main" id="{915D90A3-5102-D2CE-8099-FA30E1600B79}"/>
              </a:ext>
            </a:extLst>
          </p:cNvPr>
          <p:cNvSpPr txBox="1"/>
          <p:nvPr/>
        </p:nvSpPr>
        <p:spPr>
          <a:xfrm>
            <a:off x="2384296" y="5330106"/>
            <a:ext cx="10300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bg1"/>
                </a:solidFill>
                <a:latin typeface="SpareBank 1 Medium" panose="020B0500030000000000" pitchFamily="34" charset="0"/>
              </a:rPr>
              <a:t>2021</a:t>
            </a:r>
          </a:p>
        </p:txBody>
      </p:sp>
      <p:sp>
        <p:nvSpPr>
          <p:cNvPr id="106" name="Rektangel: avrundede hjørner 105">
            <a:extLst>
              <a:ext uri="{FF2B5EF4-FFF2-40B4-BE49-F238E27FC236}">
                <a16:creationId xmlns:a16="http://schemas.microsoft.com/office/drawing/2014/main" id="{1CDAA055-79A7-F3DF-75D4-E680BE870ACA}"/>
              </a:ext>
            </a:extLst>
          </p:cNvPr>
          <p:cNvSpPr/>
          <p:nvPr/>
        </p:nvSpPr>
        <p:spPr>
          <a:xfrm>
            <a:off x="3038292" y="2216717"/>
            <a:ext cx="5832442" cy="400111"/>
          </a:xfrm>
          <a:prstGeom prst="roundRect">
            <a:avLst>
              <a:gd name="adj" fmla="val 19904"/>
            </a:avLst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7" name="TekstSylinder 106">
            <a:extLst>
              <a:ext uri="{FF2B5EF4-FFF2-40B4-BE49-F238E27FC236}">
                <a16:creationId xmlns:a16="http://schemas.microsoft.com/office/drawing/2014/main" id="{C521F7B7-EF14-FE4D-348E-99D040D69426}"/>
              </a:ext>
            </a:extLst>
          </p:cNvPr>
          <p:cNvSpPr txBox="1"/>
          <p:nvPr/>
        </p:nvSpPr>
        <p:spPr>
          <a:xfrm>
            <a:off x="3086706" y="2285095"/>
            <a:ext cx="5932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latin typeface="+mj-lt"/>
              </a:rPr>
              <a:t>Hovedfunn 2021: Klimakrisen er større enn kriseforståelsen blant bedrifter i regionen</a:t>
            </a: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5BD71D9D-FA10-A641-9FE6-1899FCEC00CC}"/>
              </a:ext>
            </a:extLst>
          </p:cNvPr>
          <p:cNvSpPr/>
          <p:nvPr/>
        </p:nvSpPr>
        <p:spPr>
          <a:xfrm>
            <a:off x="2798929" y="5213457"/>
            <a:ext cx="98864" cy="9340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9" name="Kobling: vinkel 108">
            <a:extLst>
              <a:ext uri="{FF2B5EF4-FFF2-40B4-BE49-F238E27FC236}">
                <a16:creationId xmlns:a16="http://schemas.microsoft.com/office/drawing/2014/main" id="{0A6337B8-EABA-0F91-03EC-FBA044FF0A80}"/>
              </a:ext>
            </a:extLst>
          </p:cNvPr>
          <p:cNvCxnSpPr>
            <a:cxnSpLocks/>
            <a:stCxn id="106" idx="1"/>
            <a:endCxn id="108" idx="0"/>
          </p:cNvCxnSpPr>
          <p:nvPr/>
        </p:nvCxnSpPr>
        <p:spPr>
          <a:xfrm rot="10800000" flipV="1">
            <a:off x="2848362" y="2416773"/>
            <a:ext cx="189931" cy="2796684"/>
          </a:xfrm>
          <a:prstGeom prst="bentConnector2">
            <a:avLst/>
          </a:prstGeom>
          <a:ln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Rett pilkobling 117">
            <a:extLst>
              <a:ext uri="{FF2B5EF4-FFF2-40B4-BE49-F238E27FC236}">
                <a16:creationId xmlns:a16="http://schemas.microsoft.com/office/drawing/2014/main" id="{06511DAD-8426-1210-F330-6B465E637268}"/>
              </a:ext>
            </a:extLst>
          </p:cNvPr>
          <p:cNvCxnSpPr>
            <a:cxnSpLocks/>
          </p:cNvCxnSpPr>
          <p:nvPr/>
        </p:nvCxnSpPr>
        <p:spPr>
          <a:xfrm>
            <a:off x="702680" y="5255169"/>
            <a:ext cx="4731168" cy="0"/>
          </a:xfrm>
          <a:prstGeom prst="straightConnector1">
            <a:avLst/>
          </a:prstGeom>
          <a:ln w="28575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Ellipse 128">
            <a:extLst>
              <a:ext uri="{FF2B5EF4-FFF2-40B4-BE49-F238E27FC236}">
                <a16:creationId xmlns:a16="http://schemas.microsoft.com/office/drawing/2014/main" id="{78D6A2AC-5F2A-91C2-AB32-5EDBF64BD52B}"/>
              </a:ext>
            </a:extLst>
          </p:cNvPr>
          <p:cNvSpPr/>
          <p:nvPr/>
        </p:nvSpPr>
        <p:spPr>
          <a:xfrm>
            <a:off x="4929413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30" name="Ellipse 129">
            <a:extLst>
              <a:ext uri="{FF2B5EF4-FFF2-40B4-BE49-F238E27FC236}">
                <a16:creationId xmlns:a16="http://schemas.microsoft.com/office/drawing/2014/main" id="{BFCB8F2D-DA11-EB97-CE18-4D2549564C11}"/>
              </a:ext>
            </a:extLst>
          </p:cNvPr>
          <p:cNvSpPr/>
          <p:nvPr/>
        </p:nvSpPr>
        <p:spPr>
          <a:xfrm>
            <a:off x="3877837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1" name="Ellipse 130">
            <a:extLst>
              <a:ext uri="{FF2B5EF4-FFF2-40B4-BE49-F238E27FC236}">
                <a16:creationId xmlns:a16="http://schemas.microsoft.com/office/drawing/2014/main" id="{08DDF353-E48C-7F5E-C01F-7E2B1FA791CC}"/>
              </a:ext>
            </a:extLst>
          </p:cNvPr>
          <p:cNvSpPr/>
          <p:nvPr/>
        </p:nvSpPr>
        <p:spPr>
          <a:xfrm>
            <a:off x="2823120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2" name="Ellipse 131">
            <a:extLst>
              <a:ext uri="{FF2B5EF4-FFF2-40B4-BE49-F238E27FC236}">
                <a16:creationId xmlns:a16="http://schemas.microsoft.com/office/drawing/2014/main" id="{CC44F2BD-5D78-E5E3-875B-F4BFD94F81E8}"/>
              </a:ext>
            </a:extLst>
          </p:cNvPr>
          <p:cNvSpPr/>
          <p:nvPr/>
        </p:nvSpPr>
        <p:spPr>
          <a:xfrm>
            <a:off x="1774877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3" name="Ellipse 132">
            <a:extLst>
              <a:ext uri="{FF2B5EF4-FFF2-40B4-BE49-F238E27FC236}">
                <a16:creationId xmlns:a16="http://schemas.microsoft.com/office/drawing/2014/main" id="{49CDDE42-E9C9-F30A-93D4-EFC4E30A7B4B}"/>
              </a:ext>
            </a:extLst>
          </p:cNvPr>
          <p:cNvSpPr/>
          <p:nvPr/>
        </p:nvSpPr>
        <p:spPr>
          <a:xfrm>
            <a:off x="721590" y="5238366"/>
            <a:ext cx="45719" cy="4571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17226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: avrundede hjørner diagonalt 15">
            <a:extLst>
              <a:ext uri="{FF2B5EF4-FFF2-40B4-BE49-F238E27FC236}">
                <a16:creationId xmlns:a16="http://schemas.microsoft.com/office/drawing/2014/main" id="{4863B0D7-0DCE-F6BA-8C00-45CC5804699C}"/>
              </a:ext>
            </a:extLst>
          </p:cNvPr>
          <p:cNvSpPr/>
          <p:nvPr/>
        </p:nvSpPr>
        <p:spPr>
          <a:xfrm>
            <a:off x="626287" y="1712476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chemeClr val="accent2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Strategi</a:t>
            </a:r>
          </a:p>
        </p:txBody>
      </p:sp>
      <p:sp>
        <p:nvSpPr>
          <p:cNvPr id="18" name="Rektangel: avrundede hjørner diagonalt 17">
            <a:extLst>
              <a:ext uri="{FF2B5EF4-FFF2-40B4-BE49-F238E27FC236}">
                <a16:creationId xmlns:a16="http://schemas.microsoft.com/office/drawing/2014/main" id="{EDDFE4F8-336D-47E3-6D24-516DEAB3FEB9}"/>
              </a:ext>
            </a:extLst>
          </p:cNvPr>
          <p:cNvSpPr/>
          <p:nvPr/>
        </p:nvSpPr>
        <p:spPr>
          <a:xfrm>
            <a:off x="626287" y="2685387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Innovasjon, kunder og marked</a:t>
            </a:r>
          </a:p>
        </p:txBody>
      </p:sp>
      <p:sp>
        <p:nvSpPr>
          <p:cNvPr id="19" name="Rektangel: avrundede hjørner diagonalt 18">
            <a:extLst>
              <a:ext uri="{FF2B5EF4-FFF2-40B4-BE49-F238E27FC236}">
                <a16:creationId xmlns:a16="http://schemas.microsoft.com/office/drawing/2014/main" id="{C912209D-AC8B-C81D-FABD-7AB5C9EF0892}"/>
              </a:ext>
            </a:extLst>
          </p:cNvPr>
          <p:cNvSpPr/>
          <p:nvPr/>
        </p:nvSpPr>
        <p:spPr>
          <a:xfrm>
            <a:off x="626287" y="3658298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Kompetanse</a:t>
            </a:r>
          </a:p>
        </p:txBody>
      </p:sp>
      <p:sp>
        <p:nvSpPr>
          <p:cNvPr id="20" name="Rektangel: avrundede hjørner diagonalt 19">
            <a:extLst>
              <a:ext uri="{FF2B5EF4-FFF2-40B4-BE49-F238E27FC236}">
                <a16:creationId xmlns:a16="http://schemas.microsoft.com/office/drawing/2014/main" id="{17D22BF5-A214-1915-566E-B058C54CB6AE}"/>
              </a:ext>
            </a:extLst>
          </p:cNvPr>
          <p:cNvSpPr/>
          <p:nvPr/>
        </p:nvSpPr>
        <p:spPr>
          <a:xfrm>
            <a:off x="626287" y="4631209"/>
            <a:ext cx="6101086" cy="620373"/>
          </a:xfrm>
          <a:prstGeom prst="round2DiagRect">
            <a:avLst>
              <a:gd name="adj1" fmla="val 50000"/>
              <a:gd name="adj2" fmla="val 50000"/>
            </a:avLst>
          </a:prstGeom>
          <a:solidFill>
            <a:srgbClr val="005AA4"/>
          </a:solidFill>
          <a:ln>
            <a:noFill/>
          </a:ln>
          <a:effectLst>
            <a:glow rad="101600">
              <a:schemeClr val="bg1">
                <a:lumMod val="95000"/>
                <a:alpha val="6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100" dirty="0">
                <a:solidFill>
                  <a:schemeClr val="bg1"/>
                </a:solidFill>
                <a:latin typeface="SpareBank 1 Title" panose="020B0500030000000000" pitchFamily="34" charset="0"/>
              </a:rPr>
              <a:t>Fremtid</a:t>
            </a:r>
          </a:p>
        </p:txBody>
      </p:sp>
      <p:pic>
        <p:nvPicPr>
          <p:cNvPr id="2" name="logo_blaa">
            <a:extLst>
              <a:ext uri="{FF2B5EF4-FFF2-40B4-BE49-F238E27FC236}">
                <a16:creationId xmlns:a16="http://schemas.microsoft.com/office/drawing/2014/main" id="{AA3A8E0B-918B-1492-6F8B-7C2E89B3BD98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25" name="Frihåndsform: figur 24">
            <a:extLst>
              <a:ext uri="{FF2B5EF4-FFF2-40B4-BE49-F238E27FC236}">
                <a16:creationId xmlns:a16="http://schemas.microsoft.com/office/drawing/2014/main" id="{F95DA45A-5A5F-456B-9665-FABDEBAFE2DA}"/>
              </a:ext>
            </a:extLst>
          </p:cNvPr>
          <p:cNvSpPr/>
          <p:nvPr/>
        </p:nvSpPr>
        <p:spPr>
          <a:xfrm>
            <a:off x="7536546" y="0"/>
            <a:ext cx="4655454" cy="4354951"/>
          </a:xfrm>
          <a:custGeom>
            <a:avLst/>
            <a:gdLst>
              <a:gd name="connsiteX0" fmla="*/ 941343 w 6096000"/>
              <a:gd name="connsiteY0" fmla="*/ 0 h 5717750"/>
              <a:gd name="connsiteX1" fmla="*/ 6096000 w 6096000"/>
              <a:gd name="connsiteY1" fmla="*/ 0 h 5717750"/>
              <a:gd name="connsiteX2" fmla="*/ 6096000 w 6096000"/>
              <a:gd name="connsiteY2" fmla="*/ 4691651 h 5717750"/>
              <a:gd name="connsiteX3" fmla="*/ 6070472 w 6096000"/>
              <a:gd name="connsiteY3" fmla="*/ 4718596 h 5717750"/>
              <a:gd name="connsiteX4" fmla="*/ 3556000 w 6096000"/>
              <a:gd name="connsiteY4" fmla="*/ 5717750 h 5717750"/>
              <a:gd name="connsiteX5" fmla="*/ 0 w 6096000"/>
              <a:gd name="connsiteY5" fmla="*/ 2306425 h 5717750"/>
              <a:gd name="connsiteX6" fmla="*/ 812017 w 6096000"/>
              <a:gd name="connsiteY6" fmla="*/ 136505 h 5717750"/>
              <a:gd name="connsiteX7" fmla="*/ 941343 w 6096000"/>
              <a:gd name="connsiteY7" fmla="*/ 0 h 571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096000" h="5717750">
                <a:moveTo>
                  <a:pt x="941343" y="0"/>
                </a:moveTo>
                <a:lnTo>
                  <a:pt x="6096000" y="0"/>
                </a:lnTo>
                <a:lnTo>
                  <a:pt x="6096000" y="4691651"/>
                </a:lnTo>
                <a:lnTo>
                  <a:pt x="6070472" y="4718596"/>
                </a:lnTo>
                <a:cubicBezTo>
                  <a:pt x="5426962" y="5335925"/>
                  <a:pt x="4537962" y="5717750"/>
                  <a:pt x="3556000" y="5717750"/>
                </a:cubicBezTo>
                <a:cubicBezTo>
                  <a:pt x="1592075" y="5717750"/>
                  <a:pt x="0" y="4190448"/>
                  <a:pt x="0" y="2306425"/>
                </a:cubicBezTo>
                <a:cubicBezTo>
                  <a:pt x="0" y="1482165"/>
                  <a:pt x="304733" y="726184"/>
                  <a:pt x="812017" y="136505"/>
                </a:cubicBezTo>
                <a:lnTo>
                  <a:pt x="941343" y="0"/>
                </a:lnTo>
                <a:close/>
              </a:path>
            </a:pathLst>
          </a:custGeom>
          <a:blipFill dpi="0" rotWithShape="1">
            <a:blip r:embed="rId3">
              <a:grayscl/>
            </a:blip>
            <a:srcRect/>
            <a:stretch>
              <a:fillRect l="-11000" t="-1000"/>
            </a:stretch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87528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ktangel 46">
            <a:extLst>
              <a:ext uri="{FF2B5EF4-FFF2-40B4-BE49-F238E27FC236}">
                <a16:creationId xmlns:a16="http://schemas.microsoft.com/office/drawing/2014/main" id="{71B92B7A-4F33-438D-333F-D09CE64B0587}"/>
              </a:ext>
            </a:extLst>
          </p:cNvPr>
          <p:cNvSpPr/>
          <p:nvPr/>
        </p:nvSpPr>
        <p:spPr>
          <a:xfrm>
            <a:off x="5968517" y="1962026"/>
            <a:ext cx="5485039" cy="317103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18831" y="194101"/>
            <a:ext cx="11524826" cy="554038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nb-NO" sz="3600" dirty="0"/>
              <a:t>7 av 10 kommuner har konkrete mål for å kutte utslipp. Knapt halvparten av kommunene har også en overgangsplan</a:t>
            </a:r>
          </a:p>
        </p:txBody>
      </p:sp>
      <p:sp>
        <p:nvSpPr>
          <p:cNvPr id="12" name="Grunt object 0ff0bcabafae966a0fa566a8339a5cf3-svg">
            <a:extLst>
              <a:ext uri="{FF2B5EF4-FFF2-40B4-BE49-F238E27FC236}">
                <a16:creationId xmlns:a16="http://schemas.microsoft.com/office/drawing/2014/main" id="{C7D6E2B7-F909-208A-88A7-4B1A5B43248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092825" y="2996778"/>
            <a:ext cx="2449065" cy="1704229"/>
          </a:xfrm>
          <a:prstGeom prst="rect">
            <a:avLst/>
          </a:prstGeom>
          <a:blipFill dpi="0"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Grunt object 59b01d29468f50ca72d7610bb62f26fb-svg">
            <a:extLst>
              <a:ext uri="{FF2B5EF4-FFF2-40B4-BE49-F238E27FC236}">
                <a16:creationId xmlns:a16="http://schemas.microsoft.com/office/drawing/2014/main" id="{85AA0980-8973-CA56-1E33-D1721889CE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47819" y="3220720"/>
            <a:ext cx="4629833" cy="2328904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e98392991c31a46d338fa24b0159487a-svg">
            <a:extLst>
              <a:ext uri="{FF2B5EF4-FFF2-40B4-BE49-F238E27FC236}">
                <a16:creationId xmlns:a16="http://schemas.microsoft.com/office/drawing/2014/main" id="{B8E2FFFA-627F-8E0A-3F67-8E359CCC3F0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50994" y="1870252"/>
            <a:ext cx="1879599" cy="334074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49" name="logo_blaa">
            <a:extLst>
              <a:ext uri="{FF2B5EF4-FFF2-40B4-BE49-F238E27FC236}">
                <a16:creationId xmlns:a16="http://schemas.microsoft.com/office/drawing/2014/main" id="{9B74B623-3811-6168-BD71-A0921C1E3F07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62" name="Plassholder for bunntekst 3">
            <a:extLst>
              <a:ext uri="{FF2B5EF4-FFF2-40B4-BE49-F238E27FC236}">
                <a16:creationId xmlns:a16="http://schemas.microsoft.com/office/drawing/2014/main" id="{14A3709F-4542-3131-61F5-0871C7D9104C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5" name="Grunt object 4c1193f43d6cd13558939017d456b223-svg">
            <a:extLst>
              <a:ext uri="{FF2B5EF4-FFF2-40B4-BE49-F238E27FC236}">
                <a16:creationId xmlns:a16="http://schemas.microsoft.com/office/drawing/2014/main" id="{D723019A-68DA-943E-846E-B8C8C0C5379D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878753" y="2996778"/>
            <a:ext cx="2346381" cy="1704229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0766979F-4171-492E-6977-C51986F2D074}"/>
              </a:ext>
            </a:extLst>
          </p:cNvPr>
          <p:cNvSpPr txBox="1"/>
          <p:nvPr/>
        </p:nvSpPr>
        <p:spPr>
          <a:xfrm>
            <a:off x="6773052" y="4714653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DC03D2DF-B78F-23F8-B0A6-CBD04FC44367}"/>
              </a:ext>
            </a:extLst>
          </p:cNvPr>
          <p:cNvSpPr txBox="1"/>
          <p:nvPr/>
        </p:nvSpPr>
        <p:spPr>
          <a:xfrm>
            <a:off x="9181617" y="4699963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3268DD79-956B-BB30-2FC2-61869E266E1B}"/>
              </a:ext>
            </a:extLst>
          </p:cNvPr>
          <p:cNvCxnSpPr>
            <a:cxnSpLocks/>
          </p:cNvCxnSpPr>
          <p:nvPr/>
        </p:nvCxnSpPr>
        <p:spPr>
          <a:xfrm>
            <a:off x="8715576" y="2304302"/>
            <a:ext cx="1" cy="255559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Kobling: vinkel 24">
            <a:extLst>
              <a:ext uri="{FF2B5EF4-FFF2-40B4-BE49-F238E27FC236}">
                <a16:creationId xmlns:a16="http://schemas.microsoft.com/office/drawing/2014/main" id="{3EF50BD0-F602-6A79-9F48-1AF480C80B8F}"/>
              </a:ext>
            </a:extLst>
          </p:cNvPr>
          <p:cNvCxnSpPr>
            <a:cxnSpLocks/>
          </p:cNvCxnSpPr>
          <p:nvPr/>
        </p:nvCxnSpPr>
        <p:spPr>
          <a:xfrm flipV="1">
            <a:off x="3590488" y="3582099"/>
            <a:ext cx="2205973" cy="181854"/>
          </a:xfrm>
          <a:prstGeom prst="bentConnector3">
            <a:avLst>
              <a:gd name="adj1" fmla="val 183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D4435F28-0188-B89C-93AB-5D76A4F29BC3}"/>
              </a:ext>
            </a:extLst>
          </p:cNvPr>
          <p:cNvSpPr txBox="1"/>
          <p:nvPr/>
        </p:nvSpPr>
        <p:spPr>
          <a:xfrm>
            <a:off x="6092825" y="2035049"/>
            <a:ext cx="2222488" cy="338554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txBody>
          <a:bodyPr wrap="square" rtlCol="0">
            <a:spAutoFit/>
          </a:bodyPr>
          <a:lstStyle/>
          <a:p>
            <a:r>
              <a:rPr lang="nb-NO" sz="1600" b="1" dirty="0">
                <a:solidFill>
                  <a:schemeClr val="accent2"/>
                </a:solidFill>
                <a:latin typeface="+mj-lt"/>
              </a:rPr>
              <a:t>Svar: nei (%)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0295D8F8-EDC6-FEEB-5B23-C789A310F5E4}"/>
              </a:ext>
            </a:extLst>
          </p:cNvPr>
          <p:cNvSpPr txBox="1">
            <a:spLocks/>
          </p:cNvSpPr>
          <p:nvPr/>
        </p:nvSpPr>
        <p:spPr>
          <a:xfrm>
            <a:off x="318831" y="1261100"/>
            <a:ext cx="9292529" cy="55399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dirty="0"/>
              <a:t>Spørsmål: Har kommunen konkrete mål for å kutte utslipp, og omfatter det en overgangsplan?</a:t>
            </a:r>
          </a:p>
        </p:txBody>
      </p:sp>
    </p:spTree>
    <p:custDataLst>
      <p:tags r:id="rId1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911" y="1296177"/>
            <a:ext cx="7379495" cy="553998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nb-NO" sz="1800" dirty="0"/>
              <a:t>Spørsmål: Hvem har størst innflytelse på om kommunen vurderer</a:t>
            </a:r>
            <a:br>
              <a:rPr lang="nb-NO" sz="1800" dirty="0"/>
            </a:br>
            <a:r>
              <a:rPr lang="nb-NO" sz="1800" dirty="0"/>
              <a:t>bærekraft som strategisk viktig?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A9E940C5-D697-DAA7-B82A-AB69F57B187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Grunt object 2f544350a1ec4ab7e1226beafa299a71-svg">
            <a:extLst>
              <a:ext uri="{FF2B5EF4-FFF2-40B4-BE49-F238E27FC236}">
                <a16:creationId xmlns:a16="http://schemas.microsoft.com/office/drawing/2014/main" id="{4ABCD0F7-5D20-56AE-8B3E-7063AC2E645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4668" y="1894542"/>
            <a:ext cx="6128626" cy="4482203"/>
          </a:xfrm>
          <a:prstGeom prst="rect">
            <a:avLst/>
          </a:prstGeom>
          <a:blipFill dpi="0" rotWithShape="1"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Grunt object ac79f72e3ffb6b4b294b926f3328eaaf-svg">
            <a:extLst>
              <a:ext uri="{FF2B5EF4-FFF2-40B4-BE49-F238E27FC236}">
                <a16:creationId xmlns:a16="http://schemas.microsoft.com/office/drawing/2014/main" id="{24CC2C59-BB55-11E8-1D11-33C0DCA5E2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934642" y="1625574"/>
            <a:ext cx="2163089" cy="272143"/>
          </a:xfrm>
          <a:prstGeom prst="rect">
            <a:avLst/>
          </a:prstGeom>
          <a:blipFill dpi="0" rotWithShape="1"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Dokument 11">
            <a:extLst>
              <a:ext uri="{FF2B5EF4-FFF2-40B4-BE49-F238E27FC236}">
                <a16:creationId xmlns:a16="http://schemas.microsoft.com/office/drawing/2014/main" id="{BE89F684-C0C0-5137-C5FE-249B9D78A912}"/>
              </a:ext>
            </a:extLst>
          </p:cNvPr>
          <p:cNvSpPr/>
          <p:nvPr/>
        </p:nvSpPr>
        <p:spPr>
          <a:xfrm rot="5400000">
            <a:off x="6358729" y="1024732"/>
            <a:ext cx="6858002" cy="4808537"/>
          </a:xfrm>
          <a:prstGeom prst="flowChartDocument">
            <a:avLst/>
          </a:prstGeom>
          <a:blipFill dpi="0" rotWithShape="0">
            <a:blip r:embed="rId9"/>
            <a:srcRect/>
            <a:stretch>
              <a:fillRect l="-11000" r="-24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prstClr val="white"/>
              </a:solidFill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A3432786-D753-A98E-7484-7187DCED93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05120" y="6164125"/>
            <a:ext cx="2670279" cy="560881"/>
          </a:xfrm>
          <a:prstGeom prst="rect">
            <a:avLst/>
          </a:prstGeom>
        </p:spPr>
      </p:pic>
      <p:sp>
        <p:nvSpPr>
          <p:cNvPr id="15" name="Plassholder for bunntekst 3">
            <a:extLst>
              <a:ext uri="{FF2B5EF4-FFF2-40B4-BE49-F238E27FC236}">
                <a16:creationId xmlns:a16="http://schemas.microsoft.com/office/drawing/2014/main" id="{220EC50D-7487-C0FC-C5F2-1683D38CD024}"/>
              </a:ext>
            </a:extLst>
          </p:cNvPr>
          <p:cNvSpPr txBox="1">
            <a:spLocks/>
          </p:cNvSpPr>
          <p:nvPr/>
        </p:nvSpPr>
        <p:spPr>
          <a:xfrm>
            <a:off x="215900" y="659486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D081613-140A-2420-5B3A-E5530D9989DE}"/>
              </a:ext>
            </a:extLst>
          </p:cNvPr>
          <p:cNvSpPr txBox="1">
            <a:spLocks/>
          </p:cNvSpPr>
          <p:nvPr/>
        </p:nvSpPr>
        <p:spPr>
          <a:xfrm>
            <a:off x="422911" y="208009"/>
            <a:ext cx="11552488" cy="5540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600" dirty="0"/>
              <a:t>Interessentkartet er i endring – tydeligere rolle for statlige myndigheter?</a:t>
            </a:r>
          </a:p>
        </p:txBody>
      </p:sp>
    </p:spTree>
    <p:custDataLst>
      <p:tags r:id="rId1"/>
    </p:custData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kument 3">
            <a:extLst>
              <a:ext uri="{FF2B5EF4-FFF2-40B4-BE49-F238E27FC236}">
                <a16:creationId xmlns:a16="http://schemas.microsoft.com/office/drawing/2014/main" id="{5ADBE491-A4CB-12EF-5B19-A2FC8F425A19}"/>
              </a:ext>
            </a:extLst>
          </p:cNvPr>
          <p:cNvSpPr/>
          <p:nvPr/>
        </p:nvSpPr>
        <p:spPr>
          <a:xfrm rot="5400000">
            <a:off x="6358729" y="1024732"/>
            <a:ext cx="6858002" cy="4808537"/>
          </a:xfrm>
          <a:prstGeom prst="flowChartDocument">
            <a:avLst/>
          </a:prstGeom>
          <a:blipFill dpi="0" rotWithShape="0">
            <a:blip r:embed="rId6"/>
            <a:srcRect/>
            <a:stretch>
              <a:fillRect l="-11000" r="-24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>
              <a:solidFill>
                <a:prstClr val="white"/>
              </a:solidFill>
            </a:endParaRPr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75E816-5DFF-B94D-B56D-81261A9D52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475E816-5DFF-B94D-B56D-81261A9D52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C29CDDA-8F5B-9AD6-1FB7-8622363C5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059" y="211885"/>
            <a:ext cx="11037095" cy="553998"/>
          </a:xfrm>
        </p:spPr>
        <p:txBody>
          <a:bodyPr vert="horz"/>
          <a:lstStyle/>
          <a:p>
            <a:r>
              <a:rPr lang="nb-NO" sz="3600" dirty="0"/>
              <a:t>Regionale myndigheter og egne ansatte er viktigste rådgiver i spørsmål om bærekraft</a:t>
            </a:r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57838C6A-BA3D-A61A-587A-4A46A3BBE7FA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Grunt object 4ba25b2734bb33f67673435feb6f6017-svg">
            <a:extLst>
              <a:ext uri="{FF2B5EF4-FFF2-40B4-BE49-F238E27FC236}">
                <a16:creationId xmlns:a16="http://schemas.microsoft.com/office/drawing/2014/main" id="{024D5FF7-C652-4BEC-4141-516E162ACE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96343" y="1758470"/>
            <a:ext cx="5240478" cy="4576545"/>
          </a:xfrm>
          <a:prstGeom prst="rect">
            <a:avLst/>
          </a:prstGeom>
          <a:blipFill dpi="0" rotWithShape="1"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Grunt object ac79f72e3ffb6b4b294b926f3328eaaf-svg">
            <a:extLst>
              <a:ext uri="{FF2B5EF4-FFF2-40B4-BE49-F238E27FC236}">
                <a16:creationId xmlns:a16="http://schemas.microsoft.com/office/drawing/2014/main" id="{E0C090A1-748B-88E5-4B68-52907C027F3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934642" y="1625574"/>
            <a:ext cx="2163089" cy="272143"/>
          </a:xfrm>
          <a:prstGeom prst="rect">
            <a:avLst/>
          </a:prstGeom>
          <a:blipFill dpi="0"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DC3D28C9-ABC0-842A-AC5B-6D81D9740F05}"/>
              </a:ext>
            </a:extLst>
          </p:cNvPr>
          <p:cNvSpPr txBox="1">
            <a:spLocks/>
          </p:cNvSpPr>
          <p:nvPr/>
        </p:nvSpPr>
        <p:spPr>
          <a:xfrm>
            <a:off x="358185" y="1312151"/>
            <a:ext cx="11653837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1800" dirty="0">
                <a:solidFill>
                  <a:schemeClr val="accent2"/>
                </a:solidFill>
                <a:latin typeface="+mj-lt"/>
              </a:rPr>
              <a:t>Spørsmål</a:t>
            </a:r>
            <a:r>
              <a:rPr lang="nb-NO" sz="1800" dirty="0"/>
              <a:t>: Hvem er kommunens viktigste rådgiver i spørsmål om bærekraft?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5D72C63C-B2BD-AD14-B95E-98C252C3B96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305120" y="6164125"/>
            <a:ext cx="2670279" cy="56088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465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363446" y="180509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+mj-lt"/>
              </a:rPr>
              <a:t>Svar: I stor/svært stor grad</a:t>
            </a:r>
          </a:p>
        </p:txBody>
      </p:sp>
      <p:sp>
        <p:nvSpPr>
          <p:cNvPr id="11" name="Plassholder for bunntekst 3">
            <a:extLst>
              <a:ext uri="{FF2B5EF4-FFF2-40B4-BE49-F238E27FC236}">
                <a16:creationId xmlns:a16="http://schemas.microsoft.com/office/drawing/2014/main" id="{F165718C-7E01-1118-7EED-95779D9C8D44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8A2B5457-8536-F4A3-1FA7-320AF0027A5A}"/>
              </a:ext>
            </a:extLst>
          </p:cNvPr>
          <p:cNvSpPr txBox="1">
            <a:spLocks/>
          </p:cNvSpPr>
          <p:nvPr/>
        </p:nvSpPr>
        <p:spPr>
          <a:xfrm>
            <a:off x="425089" y="292704"/>
            <a:ext cx="9820347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600" dirty="0"/>
              <a:t>Flere kommuner stiller krav til bærekraft, også de mellomstore kommunene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0F0781D9-C648-FA32-B33F-FDDAD55274C0}"/>
              </a:ext>
            </a:extLst>
          </p:cNvPr>
          <p:cNvSpPr txBox="1"/>
          <p:nvPr/>
        </p:nvSpPr>
        <p:spPr>
          <a:xfrm>
            <a:off x="5906726" y="518311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445F95D5-6BF3-DF5D-0879-3438CA1E20BB}"/>
              </a:ext>
            </a:extLst>
          </p:cNvPr>
          <p:cNvSpPr txBox="1"/>
          <p:nvPr/>
        </p:nvSpPr>
        <p:spPr>
          <a:xfrm>
            <a:off x="9572009" y="5183118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13" name="Grunt object de6484a754d2d7d5221ee41157807aae-svg">
            <a:extLst>
              <a:ext uri="{FF2B5EF4-FFF2-40B4-BE49-F238E27FC236}">
                <a16:creationId xmlns:a16="http://schemas.microsoft.com/office/drawing/2014/main" id="{1AC912C1-C523-F7DA-38CD-F1AD9AC6342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44501" y="3057654"/>
            <a:ext cx="3610930" cy="1981840"/>
          </a:xfrm>
          <a:prstGeom prst="rect">
            <a:avLst/>
          </a:prstGeom>
          <a:blipFill dpi="0" rotWithShape="1"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Grunt object 84ec877096e17d81ac6e7e557cd2aca7-svg">
            <a:extLst>
              <a:ext uri="{FF2B5EF4-FFF2-40B4-BE49-F238E27FC236}">
                <a16:creationId xmlns:a16="http://schemas.microsoft.com/office/drawing/2014/main" id="{858749D5-6E39-917C-2B02-474DF887864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739371" y="2946712"/>
            <a:ext cx="3610930" cy="2204205"/>
          </a:xfrm>
          <a:prstGeom prst="rect">
            <a:avLst/>
          </a:prstGeom>
          <a:blipFill dpi="0" rotWithShape="1"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Grunt object d3916aa6d2c8d0af9cf762d3f9fc7e47-svg">
            <a:extLst>
              <a:ext uri="{FF2B5EF4-FFF2-40B4-BE49-F238E27FC236}">
                <a16:creationId xmlns:a16="http://schemas.microsoft.com/office/drawing/2014/main" id="{965D6B9A-CA36-E37F-B731-C61BB8179E9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053376" y="2697330"/>
            <a:ext cx="2673350" cy="2453587"/>
          </a:xfrm>
          <a:prstGeom prst="rect">
            <a:avLst/>
          </a:prstGeom>
          <a:blipFill dpi="0" rotWithShape="1"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2" name="Rett linje 1">
            <a:extLst>
              <a:ext uri="{FF2B5EF4-FFF2-40B4-BE49-F238E27FC236}">
                <a16:creationId xmlns:a16="http://schemas.microsoft.com/office/drawing/2014/main" id="{DA002189-969F-07FE-9DBE-C8F3C6FE1F2B}"/>
              </a:ext>
            </a:extLst>
          </p:cNvPr>
          <p:cNvCxnSpPr>
            <a:cxnSpLocks/>
          </p:cNvCxnSpPr>
          <p:nvPr/>
        </p:nvCxnSpPr>
        <p:spPr>
          <a:xfrm>
            <a:off x="8721074" y="1861490"/>
            <a:ext cx="0" cy="425571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65DE0A81-BEBF-10C5-B2DA-8A00FBF21898}"/>
              </a:ext>
            </a:extLst>
          </p:cNvPr>
          <p:cNvCxnSpPr>
            <a:cxnSpLocks/>
          </p:cNvCxnSpPr>
          <p:nvPr/>
        </p:nvCxnSpPr>
        <p:spPr>
          <a:xfrm>
            <a:off x="4402142" y="1956204"/>
            <a:ext cx="0" cy="416099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tel 1">
            <a:extLst>
              <a:ext uri="{FF2B5EF4-FFF2-40B4-BE49-F238E27FC236}">
                <a16:creationId xmlns:a16="http://schemas.microsoft.com/office/drawing/2014/main" id="{0B3BD905-606E-1507-BB4D-A1124294142C}"/>
              </a:ext>
            </a:extLst>
          </p:cNvPr>
          <p:cNvSpPr txBox="1">
            <a:spLocks/>
          </p:cNvSpPr>
          <p:nvPr/>
        </p:nvSpPr>
        <p:spPr>
          <a:xfrm>
            <a:off x="450255" y="1410541"/>
            <a:ext cx="10385151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</a:pPr>
            <a:r>
              <a:rPr lang="nb-NO" sz="1800" dirty="0"/>
              <a:t>Spørsmål: </a:t>
            </a:r>
            <a:r>
              <a:rPr lang="nb-NO" altLang="en-US" sz="1800" dirty="0">
                <a:solidFill>
                  <a:schemeClr val="accent2"/>
                </a:solidFill>
              </a:rPr>
              <a:t>I hvilken grad stiller din kommune krav om bærekraft til leverandører eller samarbeidspartnere?</a:t>
            </a:r>
            <a:endParaRPr lang="nb-NO" sz="1800" dirty="0">
              <a:solidFill>
                <a:schemeClr val="accent2"/>
              </a:solidFill>
            </a:endParaRPr>
          </a:p>
        </p:txBody>
      </p:sp>
      <p:sp>
        <p:nvSpPr>
          <p:cNvPr id="15" name="Grunt object 310540c05bba2bdf8d18f914a90e52a1-svg">
            <a:extLst>
              <a:ext uri="{FF2B5EF4-FFF2-40B4-BE49-F238E27FC236}">
                <a16:creationId xmlns:a16="http://schemas.microsoft.com/office/drawing/2014/main" id="{F776F748-03F1-AA26-2167-ACC223EF8493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742547" y="5594341"/>
            <a:ext cx="1571567" cy="265706"/>
          </a:xfrm>
          <a:prstGeom prst="rect">
            <a:avLst/>
          </a:prstGeom>
          <a:blipFill dpi="0" rotWithShape="1"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Grunt object 00000000000000000000000000000000-svg">
            <a:extLst>
              <a:ext uri="{FF2B5EF4-FFF2-40B4-BE49-F238E27FC236}">
                <a16:creationId xmlns:a16="http://schemas.microsoft.com/office/drawing/2014/main" id="{8A811AF8-38D3-2CF2-8367-06E792B3147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052256" y="2654460"/>
            <a:ext cx="1270000" cy="2540000"/>
          </a:xfrm>
          <a:prstGeom prst="rect">
            <a:avLst/>
          </a:prstGeom>
          <a:blipFill dpi="0" rotWithShape="1"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Grunt object e350945e65e12f81ed103085db248ccf-svg">
            <a:extLst>
              <a:ext uri="{FF2B5EF4-FFF2-40B4-BE49-F238E27FC236}">
                <a16:creationId xmlns:a16="http://schemas.microsoft.com/office/drawing/2014/main" id="{9EAC5A08-FCEA-6480-27BD-692E02934FA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056550" y="5594341"/>
            <a:ext cx="2331812" cy="601265"/>
          </a:xfrm>
          <a:prstGeom prst="rect">
            <a:avLst/>
          </a:prstGeom>
          <a:blipFill dpi="0" rotWithShape="1"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Grunt object d0c2f41eeda6077a9919bbb44471dcce-svg">
            <a:extLst>
              <a:ext uri="{FF2B5EF4-FFF2-40B4-BE49-F238E27FC236}">
                <a16:creationId xmlns:a16="http://schemas.microsoft.com/office/drawing/2014/main" id="{4981F6DB-72C5-1894-46FA-A1494693C36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47675" y="5594341"/>
            <a:ext cx="1404224" cy="265706"/>
          </a:xfrm>
          <a:prstGeom prst="rect">
            <a:avLst/>
          </a:prstGeom>
          <a:blipFill dpi="0" rotWithShape="1"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F939C935-D181-3CDF-231E-BC325A0B3272}"/>
              </a:ext>
            </a:extLst>
          </p:cNvPr>
          <p:cNvSpPr txBox="1"/>
          <p:nvPr/>
        </p:nvSpPr>
        <p:spPr>
          <a:xfrm>
            <a:off x="1037569" y="5188587"/>
            <a:ext cx="26470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Trøndelag og Møre og Romsda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24042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82CF4A-9356-7B4B-3F01-4C8E560E48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C82CF4A-9356-7B4B-3F01-4C8E560E48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logo_blaa">
            <a:extLst>
              <a:ext uri="{FF2B5EF4-FFF2-40B4-BE49-F238E27FC236}">
                <a16:creationId xmlns:a16="http://schemas.microsoft.com/office/drawing/2014/main" id="{0E0967EA-D400-EF23-DABA-9B7036651475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9100" y="6246570"/>
            <a:ext cx="2667000" cy="560754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745F3D9-BA37-E928-9DC1-70496559D703}"/>
              </a:ext>
            </a:extLst>
          </p:cNvPr>
          <p:cNvSpPr txBox="1"/>
          <p:nvPr/>
        </p:nvSpPr>
        <p:spPr>
          <a:xfrm>
            <a:off x="150586" y="203939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>
                <a:solidFill>
                  <a:schemeClr val="accent2"/>
                </a:solidFill>
                <a:latin typeface="SpareBank 1 Title" panose="020B0500030000000000" pitchFamily="34" charset="0"/>
              </a:rPr>
              <a:t>Svar: I stor/svært stor grad (%)</a:t>
            </a:r>
          </a:p>
        </p:txBody>
      </p:sp>
      <p:sp>
        <p:nvSpPr>
          <p:cNvPr id="16" name="Frihåndsform: figur 15">
            <a:extLst>
              <a:ext uri="{FF2B5EF4-FFF2-40B4-BE49-F238E27FC236}">
                <a16:creationId xmlns:a16="http://schemas.microsoft.com/office/drawing/2014/main" id="{B841B1C1-2EFA-E883-7EB8-8FED5E56FDF3}"/>
              </a:ext>
            </a:extLst>
          </p:cNvPr>
          <p:cNvSpPr/>
          <p:nvPr/>
        </p:nvSpPr>
        <p:spPr>
          <a:xfrm>
            <a:off x="9309100" y="-14514"/>
            <a:ext cx="2882900" cy="2740297"/>
          </a:xfrm>
          <a:custGeom>
            <a:avLst/>
            <a:gdLst>
              <a:gd name="connsiteX0" fmla="*/ 608527 w 4243671"/>
              <a:gd name="connsiteY0" fmla="*/ 0 h 3818709"/>
              <a:gd name="connsiteX1" fmla="*/ 4243671 w 4243671"/>
              <a:gd name="connsiteY1" fmla="*/ 0 h 3818709"/>
              <a:gd name="connsiteX2" fmla="*/ 4243671 w 4243671"/>
              <a:gd name="connsiteY2" fmla="*/ 3052599 h 3818709"/>
              <a:gd name="connsiteX3" fmla="*/ 4154915 w 4243671"/>
              <a:gd name="connsiteY3" fmla="*/ 3144904 h 3818709"/>
              <a:gd name="connsiteX4" fmla="*/ 2433893 w 4243671"/>
              <a:gd name="connsiteY4" fmla="*/ 3818709 h 3818709"/>
              <a:gd name="connsiteX5" fmla="*/ 0 w 4243671"/>
              <a:gd name="connsiteY5" fmla="*/ 1518194 h 3818709"/>
              <a:gd name="connsiteX6" fmla="*/ 555783 w 4243671"/>
              <a:gd name="connsiteY6" fmla="*/ 54853 h 3818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3671" h="3818709">
                <a:moveTo>
                  <a:pt x="608527" y="0"/>
                </a:moveTo>
                <a:lnTo>
                  <a:pt x="4243671" y="0"/>
                </a:lnTo>
                <a:lnTo>
                  <a:pt x="4243671" y="3052599"/>
                </a:lnTo>
                <a:lnTo>
                  <a:pt x="4154915" y="3144904"/>
                </a:lnTo>
                <a:cubicBezTo>
                  <a:pt x="3714467" y="3561215"/>
                  <a:pt x="3105994" y="3818709"/>
                  <a:pt x="2433893" y="3818709"/>
                </a:cubicBezTo>
                <a:cubicBezTo>
                  <a:pt x="1089691" y="3818709"/>
                  <a:pt x="0" y="2788733"/>
                  <a:pt x="0" y="1518194"/>
                </a:cubicBezTo>
                <a:cubicBezTo>
                  <a:pt x="0" y="962333"/>
                  <a:pt x="208574" y="452518"/>
                  <a:pt x="555783" y="54853"/>
                </a:cubicBezTo>
                <a:close/>
              </a:path>
            </a:pathLst>
          </a:custGeom>
          <a:solidFill>
            <a:schemeClr val="accent4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/>
          </a:p>
        </p:txBody>
      </p:sp>
      <p:sp>
        <p:nvSpPr>
          <p:cNvPr id="17" name="Plassholder for bunntekst 3">
            <a:extLst>
              <a:ext uri="{FF2B5EF4-FFF2-40B4-BE49-F238E27FC236}">
                <a16:creationId xmlns:a16="http://schemas.microsoft.com/office/drawing/2014/main" id="{4D8649B4-B894-48E2-3923-93E517BC9ED9}"/>
              </a:ext>
            </a:extLst>
          </p:cNvPr>
          <p:cNvSpPr txBox="1">
            <a:spLocks/>
          </p:cNvSpPr>
          <p:nvPr/>
        </p:nvSpPr>
        <p:spPr>
          <a:xfrm>
            <a:off x="215900" y="6584355"/>
            <a:ext cx="1491998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nb-NO"/>
            </a:defPPr>
            <a:lvl1pPr marL="0" algn="l" defTabSz="685468" rtl="0" eaLnBrk="1" latinLnBrk="0" hangingPunct="1">
              <a:defRPr sz="10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4273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68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03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37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671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05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140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874" algn="l" defTabSz="685468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800" dirty="0">
                <a:solidFill>
                  <a:schemeClr val="accent2"/>
                </a:solidFill>
              </a:rPr>
              <a:t>Kilde: Sentio Research Norge</a:t>
            </a:r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254454A6-6275-ADA7-FFC4-0C81D2EA8C49}"/>
              </a:ext>
            </a:extLst>
          </p:cNvPr>
          <p:cNvSpPr txBox="1">
            <a:spLocks/>
          </p:cNvSpPr>
          <p:nvPr/>
        </p:nvSpPr>
        <p:spPr>
          <a:xfrm>
            <a:off x="215900" y="1522270"/>
            <a:ext cx="7015389" cy="5539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0207D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ct val="0"/>
              </a:spcAft>
            </a:pPr>
            <a:r>
              <a:rPr lang="nb-NO" sz="1800" dirty="0"/>
              <a:t>Spørsmål: </a:t>
            </a:r>
            <a:r>
              <a:rPr lang="nb-NO" altLang="en-US" sz="1800" dirty="0"/>
              <a:t>I hvilken grad kjøper kommunen inn brukte gjenstander til drift eller resirkulerte råvarer</a:t>
            </a:r>
            <a:endParaRPr lang="nb-NO" sz="1800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D33F3AEA-B1D4-13F7-C010-53E4A378A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99" y="227543"/>
            <a:ext cx="9460611" cy="553998"/>
          </a:xfrm>
        </p:spPr>
        <p:txBody>
          <a:bodyPr vert="horz"/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nb-NO" altLang="en-US" sz="3600" dirty="0"/>
              <a:t>Flertallet av midtnorske kommuner kjøper i liten grad brukte eller resirkulerte gjenstander til drift </a:t>
            </a:r>
            <a:endParaRPr lang="nb-NO" sz="3600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1B5EECE0-8C96-3EAE-9F5E-90956F0BB9CE}"/>
              </a:ext>
            </a:extLst>
          </p:cNvPr>
          <p:cNvSpPr txBox="1"/>
          <p:nvPr/>
        </p:nvSpPr>
        <p:spPr>
          <a:xfrm>
            <a:off x="6096000" y="5346311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Område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0480BFC2-C8AA-BBEC-49C3-2403FC1044F4}"/>
              </a:ext>
            </a:extLst>
          </p:cNvPr>
          <p:cNvSpPr txBox="1"/>
          <p:nvPr/>
        </p:nvSpPr>
        <p:spPr>
          <a:xfrm>
            <a:off x="9676512" y="5346311"/>
            <a:ext cx="1689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mmunestørrelse</a:t>
            </a:r>
          </a:p>
        </p:txBody>
      </p:sp>
      <p:sp>
        <p:nvSpPr>
          <p:cNvPr id="11" name="Grunt object 307ef7713e0710ef60fed958f8dee118-svg">
            <a:extLst>
              <a:ext uri="{FF2B5EF4-FFF2-40B4-BE49-F238E27FC236}">
                <a16:creationId xmlns:a16="http://schemas.microsoft.com/office/drawing/2014/main" id="{A010D702-EBAA-8ECA-754C-07BEF8B889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34110" y="4589353"/>
            <a:ext cx="3621321" cy="645535"/>
          </a:xfrm>
          <a:prstGeom prst="rect">
            <a:avLst/>
          </a:prstGeom>
          <a:blipFill dpi="0" rotWithShape="1"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Grunt object 36d9e7a193509f2cfed8764902230da9-svg">
            <a:extLst>
              <a:ext uri="{FF2B5EF4-FFF2-40B4-BE49-F238E27FC236}">
                <a16:creationId xmlns:a16="http://schemas.microsoft.com/office/drawing/2014/main" id="{79D3B2FE-D2D9-CFB3-1CA7-531D5BA4B67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608743" y="4531163"/>
            <a:ext cx="3610930" cy="815149"/>
          </a:xfrm>
          <a:prstGeom prst="rect">
            <a:avLst/>
          </a:prstGeom>
          <a:blipFill dpi="0"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Grunt object 1a7db7e92e10c79ad71ebee42abfd63f-svg">
            <a:extLst>
              <a:ext uri="{FF2B5EF4-FFF2-40B4-BE49-F238E27FC236}">
                <a16:creationId xmlns:a16="http://schemas.microsoft.com/office/drawing/2014/main" id="{8EC591C5-1833-550A-0926-18556E39DBF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722450" y="4531163"/>
            <a:ext cx="3004276" cy="677988"/>
          </a:xfrm>
          <a:prstGeom prst="rect">
            <a:avLst/>
          </a:prstGeom>
          <a:blipFill dpi="0" rotWithShape="1"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Grunt object 0fbf65cebd4f2d2bf095538ceaea91b6-svg">
            <a:extLst>
              <a:ext uri="{FF2B5EF4-FFF2-40B4-BE49-F238E27FC236}">
                <a16:creationId xmlns:a16="http://schemas.microsoft.com/office/drawing/2014/main" id="{89043727-8416-05B6-E775-5A9CA48C8DD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47676" y="5623310"/>
            <a:ext cx="1353859" cy="258354"/>
          </a:xfrm>
          <a:prstGeom prst="rect">
            <a:avLst/>
          </a:prstGeom>
          <a:blipFill dpi="0" rotWithShape="1"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85595576-80CF-B0DD-BCBC-C8C15E3ADC99}"/>
              </a:ext>
            </a:extLst>
          </p:cNvPr>
          <p:cNvSpPr txBox="1"/>
          <p:nvPr/>
        </p:nvSpPr>
        <p:spPr>
          <a:xfrm>
            <a:off x="1149977" y="5346311"/>
            <a:ext cx="2666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Trøndelag og Møre og Romsdal</a:t>
            </a:r>
          </a:p>
        </p:txBody>
      </p:sp>
      <p:sp>
        <p:nvSpPr>
          <p:cNvPr id="20" name="Grunt object d188c48834545aff5df618479e6b9800-svg">
            <a:extLst>
              <a:ext uri="{FF2B5EF4-FFF2-40B4-BE49-F238E27FC236}">
                <a16:creationId xmlns:a16="http://schemas.microsoft.com/office/drawing/2014/main" id="{D2992939-2813-B34D-E5A2-13DB44AD692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611918" y="5623310"/>
            <a:ext cx="1461589" cy="258354"/>
          </a:xfrm>
          <a:prstGeom prst="rect">
            <a:avLst/>
          </a:prstGeom>
          <a:blipFill dpi="0" rotWithShape="1"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Grunt object 3f4ec364be348b83aa94ff7f831ead1b-svg">
            <a:extLst>
              <a:ext uri="{FF2B5EF4-FFF2-40B4-BE49-F238E27FC236}">
                <a16:creationId xmlns:a16="http://schemas.microsoft.com/office/drawing/2014/main" id="{9869AC9A-260F-FD7E-DC3A-A2FEC734FA4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725626" y="5623310"/>
            <a:ext cx="1461589" cy="258354"/>
          </a:xfrm>
          <a:prstGeom prst="rect">
            <a:avLst/>
          </a:prstGeom>
          <a:blipFill dpi="0" rotWithShape="1"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CBA3FDFA-FAE3-AD7E-635A-8E0540427435}"/>
              </a:ext>
            </a:extLst>
          </p:cNvPr>
          <p:cNvCxnSpPr>
            <a:cxnSpLocks/>
          </p:cNvCxnSpPr>
          <p:nvPr/>
        </p:nvCxnSpPr>
        <p:spPr>
          <a:xfrm>
            <a:off x="8494253" y="2725783"/>
            <a:ext cx="0" cy="347685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715C9BC1-70FE-4D77-22FB-5456B4FF1559}"/>
              </a:ext>
            </a:extLst>
          </p:cNvPr>
          <p:cNvCxnSpPr>
            <a:cxnSpLocks/>
          </p:cNvCxnSpPr>
          <p:nvPr/>
        </p:nvCxnSpPr>
        <p:spPr>
          <a:xfrm>
            <a:off x="4368586" y="2725783"/>
            <a:ext cx="0" cy="3476856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Bilde 29" descr="Et bilde som inneholder clip art, tegnefilm&#10;&#10;Automatisk generert beskrivelse">
            <a:extLst>
              <a:ext uri="{FF2B5EF4-FFF2-40B4-BE49-F238E27FC236}">
                <a16:creationId xmlns:a16="http://schemas.microsoft.com/office/drawing/2014/main" id="{396ADD29-7050-3576-35C4-6D5BFDC141A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2015" y="524746"/>
            <a:ext cx="1694711" cy="15323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14087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HP-6ZFH4K" val="ag0AAA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e3a52d47-8668-4ea3-aaf9-35236b5b0aed"/>
  <p:tag name="GRUNT-X-RESOURCES" val="AQIFBAQEAgEA"/>
  <p:tag name="GRUNT-VERSION" val="20.24.1.0"/>
  <p:tag name="GRUNT-VERSION-2" val="2024.1-r2-4069"/>
  <p:tag name="GRUNT-X-DATASERVICE" val="AQUCnjkKNEFsdHVhLkRhdGEuRGF0YVNlcnZpY2VzLkV4Y2VsRGF0YVNlcnZpY2UsIEFsdHVhLkRhdGEFAhwEEgQQpHyOdkumnkWbDratOY3FnhUMHREFLRkHDAYFIA0kFSgWPUFsdHVhLkRhdGEuUHJpbWl0aXZlcy5FeGNlbC5FeGNlbEltcG9ydERlZmluaXRpb24sIEFsdHVhLkRhdGERBQ4FLQwIABQCBTQdOCU9EB5BQWx0dWEuRGF0YS5EYXRhU2VydmljZXMuRW1iZWRkZWREYXRhU2VydmljZUVkaXRvckRhdGEsIEFsdHVhLkRhdGEZBwQFRA1IIAQFTA1QJAYFVAgNEAEoAgVYMjRBbHR1YS5EYXRhLlByaW1pdGl2ZXMuRXhjZWwuRXhjZWxBZGRyZXNzLCBBbHR1YS5EYXRhLQwFFVwdYRk0AgEAOAoBARAAGAAhACgBQkBBbHR1YS5EYXRhLkV4Y2VsLlJlYWRpbmcuRGVmYXVsdEV4Y2VsUmVhZGluZ1N0cmF0ZWd5LCBBbHR1YS5EYXRhPRAARHgdBBIEELBA5PPxgyJFg7avOo/L+LwLAAAAAACAREAdBBIEEJWN3loxasNNr8A2UiSIhJULAAAAAAAAHEAdBBIEEOcEq3k9+NNOsUWXZWvQF4sLAAAAAABgYEAdBBIEEHRVd/ay0EhEtape60KRERsLAAAAAABAXkBIAEwLBWgL97t4w0Zv3EhQAgVsVAYFcA10FXhYtwEsBCgEEgQQdFV39rLQSES1ql7rQpERGwwSBBACAAAAAAAAAAAAAAAAAAAADXwtBCgEEgQQdFV39rLQSES1ql7rQpERGwwSBBACAAAAAAAAAAAAAAABAAABDYABLQQoBBIEEDrYpW4sYOxKuT9SbnDxRDUMEgQQAgAAAAAAAAAAAAAAAAAAAA2EAS0EKAQSBBA62KVuLGDsSrk/Um5w8UQ1DBIEEAIAAAAAAAAAAAAAAAEAAAENiAFcBgkBFY0BJGY3QWx0dWEuRGF0YS5SZWFkZXJzLkV4Y2VsLlNwZWNpZmljRXhjZWxSYW5nZSwgQWx0dWEuRGF0YWEZCQWUAQwEQXJrMmgJBZgBDZwBFaABbJgHLQQoBBIEEAEAAAAAAAAAAAAAAAEAAAEMEgQQAgAAAAAAAAAAAAAACQAACQ2kAS0EKAQSBBABAAAAAAAAAAAAAAAAAAAADBIEEAIAAAAAAAAAAAAAAAkAAAkNqAEtBCgEEgQQAQAAAAAAAAAAAAAAAAAAAAwSBBACAAAAAAAAAAAAAAAHAAAHDawBLQQoBBIEEAEAAAAAAAAAAAAAAAEAAAEMEgQQAgAAAAAAAAAAAAAABQAABQ2wAS0EKAQSBBABAAAAAAAAAAAAAAABAAABDBIEEAIAAAAAAAAAAAAAAAIAAAINtAEtBCgEEgQQAQAAAAAAAAAAAAAAAAAAAAwSBBACAAAAAAAAAAAAAAAGAAAGDbgBLQQoBBIEEAEAAAAAAAAAAAAAAAEAAAEMEgQQAgAAAAAAAAAAAAAACAAACA28AS0EKAQSBBABAAAAAAAAAAAAAAABAAABDBIEEAIAAAAAAAAAAAAAAAcAAAcNwAEtBCgEEgQQAQAAAAAAAAAAAAAAAAAAAAwSBBACAAAAAAAAAAAAAAADAAADDcQBLQQoBBIEEAEAAAAAAAAAAAAAAAEAAAEMEgQQAgAAAAAAAAAAAAAABgAABg3IAS0EKAQSBBABAAAAAAAAAAAAAAABAAABDBIEEAIAAAAAAAAAAAAAAAMAAAMNzAEtBCgEEgQQAQAAAAAAAAAAAAAAAAAAAAwSBBACAAAAAAAAAAAAAAAFAAAFDdABLQQoBBIEEAEAAAAAAAAAAAAAAAAAAAAMEgQQAgAAAAAAAAAAAAAABAAABA3UAS0EKAQSBBABAAAAAAAAAAAAAAABAAABDBIEEAIAAAAAAAAAAAAAAAQAAAQN2AEtBCgEEgQQAQAAAAAAAAAAAAAAAAAAAAwSBBACAAAAAAAAAAAAAAAAAAAADdwBLQQoBBIEEAEAAAAAAAAAAAAAAAAAAAAMEgQQAgAAAAAAAAAAAAAAAgAAAg3gAS0EKAQSBBABAAAAAAAAAAAAAAABAAABDBIEEAIAAAAAAAAAAAAAAAEAAAEN5AEtBCgEEgQQAQAAAAAAAAAAAAAAAAAAAAwSBBACAAAAAAAAAAAAAAAIAAAIDegBLQQoBBIEEAEAAAAAAAAAAAAAAAEAAAEMEgQQAgAAAAAAAAAAAAAAAAAAAA3sAS0EKAQSBBABAAAAAAAAAAAAAAAAAAAADBIEEAIAAAAAAAAAAAAAAAEAAAEN8AFwBPQB+AF0AHgAfAYN/AEVgAKAAQYN/AEVhAKEAQYN/AEViAKIAQYN/AEVjAKSAU9BbHR1YS5MaWJyYXJ5LlNlcmlhbGl6YWJsZS5TdG9yYWdlLk9uZURyaXZlRmlsZVBhdGgsIEFsdHVhLkxpYnJhcnkuU2VyaWFsaXphYmxljQEkgQEcf2h0dHBzOi8vc2Ixc21uLW15LnNoYXJlcG9pbnQuY29tL3BlcnNvbmFsL3RvbWFzX3ZlcnN0YWRfc21uX25vL0RvY3VtZW50cy9Eb2N1bWVudHMvS3Jpc3RpYW5zdW5kL0J1c2luZXNzIGNhc2UgS3Jpc3RpYW5zdW5kLnhsc3iUAQgFkQJFDZkCR5gBBKACpAKcARSoAqwCsAK0ArgCvALAAsQCyALMAqABmActBCgEEgQQAQAAAAAAAAAAAAAAAQAAAQwSBBACAAAAAAAAAAAAAAAJAAAJDdACLQQoBBIEEAEAAAAAAAAAAAAAAAAAAAAMEgQQAgAAAAAAAAAAAAAACQAACQ3UAi0EKAQSBBABAAAAAAAAAAAAAAAAAAAADBIEEAIAAAAAAAAAAAAAAAcAAAcN2AItBCgEEgQQAQAAAAAAAAAAAAAAAQAAAQwSBBACAAAAAAAAAAAAAAAFAAAFDdwCLQQoBBIEEAEAAAAAAAAAAAAAAAEAAAEMEgQQAgAAAAAAAAAAAAAAAgAAAg3gAi0EKAQSBBABAAAAAAAAAAAAAAAAAAAADBIEEAIAAAAAAAAAAAAAAAYAAAYN5AItBCgEEgQQAQAAAAAAAAAAAAAAAQAAAQwSBBACAAAAAAAAAAAAAAAIAAAIDegCLQQoBBIEEAEAAAAAAAAAAAAAAAEAAAEMEgQQAgAAAAAAAAAAAAAABwAABw3sAi0EKAQSBBABAAAAAAAAAAAAAAAAAAAADBIEEAIAAAAAAAAAAAAAAAMAAAMN8AItBCgEEgQQAQAAAAAAAAAAAAAAAQAAAQwSBBACAAAAAAAAAAAAAAAGAAAGDfQCLQQoBBIEEAEAAAAAAAAAAAAAAAEAAAEMEgQQAgAAAAAAAAAAAAAAAwAAAw34Ai0EKAQSBBABAAAAAAAAAAAAAAAAAAAADBIEEAIAAAAAAAAAAAAAAAUAAAUN/AItBCgEEgQQAQAAAAAAAAAAAAAAAAAAAAwSBBACAAAAAAAAAAAAAAAEAAAEDYADLQQoBBIEEAEAAAAAAAAAAAAAAAEAAAEMEgQQAgAAAAAAAAAAAAAABAAABA2EAy0EKAQSBBABAAAAAAAAAAAAAAAAAAAADBIEEAIAAAAAAAAAAAAAAAAAAAANiAMtBCgEEgQQAQAAAAAAAAAAAAAAAAAAAAwSBBACAAAAAAAAAAAAAAACAAACDYwDLQQoBBIEEAEAAAAAAAAAAAAAAAEAAAEMEgQQAgAAAAAAAAAAAAAAAQAAAQ2QAy0EKAQSBBABAAAAAAAAAAAAAAAAAAAADBIEEAIAAAAAAAAAAAAAAAgAAAgNlAMtBCgEEgQQAQAAAAAAAAAAAAAAAQAAAQwSBBACAAAAAAAAAAAAAAAAAAAADZgDLQQoBBIEEAEAAAAAAAAAAAAAAAAAAAAMEgQQAgAAAAAAAAAAAAAAAQAAAQ2cA6QBBg38ARWgA6gBBg38ARWgA6wBBg38ARWgA7ABBg38ARWgA7QBBg38ARWgA7gBBg38ARWgA7wBBg38ARWgA8ABBg38ARWgA8QBBg38ARWgA8gBBg38ARWgA8wBBg38ARWgA9ABBg38ARWgA9QBBg38ARWgA9gBBg38ARWgA9wBBg38ARWgA+ABBg38ARWgA+QBBg38ARWkA+gBBg38ARWgA+wBBg38ARWoA/ABBg38ARWgA/QBGgQSBBA62KVuLGDsSrk/Um5w8UQ1DAJDMhkB+AEaBBIEEHRVd/ay0EhEtape60KRERsMAkMzGQH8AQIEAIACBQQDBawDhAIFBAMFsAOIAgUEAwW0A4wCBQQDBbgDlgI3QWx0dWEuRGF0YS5QcmltaXRpdmVzLkNvbnN0cmFpbmVkQ29sdW1uU3BhbiwgQWx0dWEuRGF0YZECRQUDBbwDAJ4CNEFsdHVhLkRhdGEuUHJpbWl0aXZlcy5Db25zdHJhaW5lZFJvd1NwYW4sIEFsdHVhLkRhdGGZAkcFAwXAAwCgAhkEEgQQAQAAAAAAAAAAAAAAAAAAAAwBRhkBpAIZBBIEEAEAAAAAAAAAAAAAAAEAAAEMAUcZAagCGgQSBBACAAAAAAAAAAAAAAAAAAAADAIxOBkBrAIaBBIEEAIAAAAAAAAAAAAAAAEAAAEMAjE5GQGwAhoEEgQQAgAAAAAAAAAAAAAAAgAAAgwCMjAZAbQCGgQSBBACAAAAAAAAAAAAAAADAAADDAIyMRkBuAIaBBIEEAIAAAAAAAAAAAAAAAQAAAQMAjIyGQG8AhoEEgQQAgAAAAAAAAAAAAAABQAABQwCMjMZAcACGgQSBBACAAAAAAAAAAAAAAAGAAAGDAIyNBkBxAIaBBIEEAIAAAAAAAAAAAAAAAcAAAcMAjI1GQHIAhoEEgQQAgAAAAAAAAAAAAAACAAACAwCMjYZAcwCGgQSBBACAAAAAAAAAAAAAAAJAAAJDAIyNxkB0AIGDfwBFcQD1AIGDfwBFcgD2AIGDfwBFcwD3AIGDfwBFdAD4AIGDfwBFdQD5AIGDfwBFdgD6AIGDfwBFdwD7AIGDfwBFeAD8AIGDfwBFeQD9AIGDfwBFegD+AIGDfwBFewD/AIGDfwBFfADgAMGDfwBFfQDhAMGDfwBFfgDiAMGDfwBFfwDjAMGDfwBFYAEkAMGDfwBFYQElAMGDfwBFYgEmAMGDfwBFYwEnAMGDfwBFZAEoAMFBAMFlASkAwUEAwWYBKgDBQQDBZwErAMGAQGhBIkBsAMGAQGpBIkBtAMGAQGtBIkBuAMGAQGxBIkBvAMEAQIGCMADBAECEhzEAwUEAwW0BMgDBQQDBbgEzAMFBAMFvATQAwUEAwXABNQDBQQDBcQE2AMFBAMFyATcAwUEAwXMBOADBQQDBdAE5AMFBAMF1AToAwUEAwXYBOwDBQQDBdwE8AMFBAMF4AT0AwUEAwXkBPgDBQQDBegE/AMFBAMF7ASABAUEAwXwBIQEBQQDBfQEiAQFBAMF+ASMBAUEAwX8BJAEBQQDBYAFlAQCAQCYBAYBAYUFiQGcBAYBAYkFiQGmBC9BbHR1YS5EYXRhLkluZnJhc3RydWN0dXJlLlBhcmFncmFwaCwgQWx0dWEuRGF0YaEEiQEFDAMFjAWpBIkBBQwDBZAFrQSJAQUMAwWUBbEEiQEFDAMFmAW0BAYBAZ0FiQG4BAYBAaEFiQG8BAYBAaUFiQHABAYBAakFiQHEBAYBAa0FiQHIBAYBAbEFiQHMBAYBAbUFiQHQBAYBAbkFiQHUBAYBAb0FiQHYBAYBAcEFiQHcBAYBAcUFiQHgBAYBAckFiQHkBAYBAc0FiQHoBAYBAdEFiQHsBAYBAdUFiQHwBAYBAdkFiQH0BAYBAd0FiQH4BAYBAeEFiQH8BAYBAeUFiQGABQYBAekFiQGFBYkBBQwDBewFiQWJAQUMAwXwBYwFBgEB9QW+AZAFBgEB/QXAAZQFBgEBhQa+AZgFBgEBiQbAAZ0FiQEFDAMFjAahBYkBBQwDBZAGpQWJAQUMAwWUBqkFiQEFDAMFmAatBYkBBQwDBZwGsQWJAQUMAwWgBrUFiQEFDAMFpAa5BYkBBQwDBagGvQWJAQUMAwWsBsEFiQEFDAMFsAbFBYkBBQwDBbQGyQWJAQUMAwW4Bs0FiQEFDAMFvAbRBYkBBQwDBcAG1QWJAQUMAwXEBtkFiQEFDAMFyAbdBYkBBQwDBcwG4QWJAQUMAwXQBuUFiQEFDAMF1AbpBYkBBQwDBdgG7AUGAQHdBsAB8AUGAQHhBr4B+gUtQWx0dWEuRGF0YS5JbmZyYXN0cnVjdHVyZS5UZXh0UnVuLCBBbHR1YS5EYXRh9QW+ARcEEjEwLjAwMCBlbGxlciBmbGVyZQ3kBoIGL0FsdHVhLkRhdGEuSW5mcmFzdHJ1Y3R1cmUuTnVtYmVyUnVuLCBBbHR1YS5EYXRh/QXAARMEDgMAAAAAAAAiQB3pBtsBDfAGhQa+ARIEDTUuMDAw4oCTOS45OTkN9AaJBsABEwQOAwAAAAAAAEJAHfkG2wEN/AaMBgYBAYEHwAGQBgYBAYUHvgGUBgYBAYkHvgGYBgYBAY0HwAGcBgYBAZEHwAGgBgYBAZUHvgGkBgYBAZkHwAGoBgYBAZ0HwAGsBgYBAaEHvgGwBgYBAaUHwAG0BgYBAakHwAG4BgYBAa0HvgG8BgYBAbEHvgHABgYBAbUHwAHEBgYBAbkHvgHIBgYBAb0HvgHMBgYBAcEHwAHQBgYBAcUHvgHUBgYBAckHwAHYBgYBAc0HvgHdBsABEwQOAwAAAAAAAEJAHdEH2wEN1AfhBr4BEAQLVW5kZXIgNS4wMDAN2AfkBhIEABwAJAAsADQAPABMAFQAXQDuBj1BbHR1YS5EYXRhLk51bWJlckZvcm1hdHRpbmcuQ29tcG9zaXRlTnVtYmVyRm9ybWF0LCBBbHR1YS5EYXRh6QbbAQsd3Acl4Ac15Ac9APAGEgQAHAAkACwANAA8AEwAVABdAPQGEgQAHAAkACwANAA8AEwAVABdAPkG2wELHegHJewHNfAHPQD8BhIEABwAJAAsADQAPABMAFQAXQCBB8ABEwQOA6Y5CAV8T0xAHfUH2wEN+AeFB74BDAQHw5h2cmlnZQ34B4kHvgEYBBNIb3RlbGwgLyByZXN0YXVyYW50DfgHjQfAARMEDgP1h3+m2ntNQB39B9sBDfgHkQfAARMEDgMy2ZLvs4lHQB2BCNsBDfgHlQe+AQwEB0VpZW5kb20N+AeZB8ABEwQOA3oiWVie6EBAHYUI2wEN+AedB8ABEwQOA67Rt2ukckhAHYkI2wEN+AehB74BIwQeVGplbmVzdGV5dGluZyBvZyBrb21tdW5pa2Fzam9uDfgHpQfAARMEDgNyEY5JJSRPQB2NCNsBDfgHqQfAARMEDgMv4KtrLABQQB2RCNsBDfgHrQe+AQ8EClZhcmVoYW5kZWwN+AexB74BEwQOQnlnZyBvZyBhbmxlZ2cN+Ae1B8ABEwQOA8jZzrMc1kZAHZUI2wEN+Ae5B74BGQQUSm9yZGJydWsgb2cgc2tvZ2JydWsN+Ae9B74BDQQISW5kdXN0cmkN+AfBB8ABEwQOAy1ctBMMnEdAHZkI2wEN+AfFB74BGQQUVHJhbnNwb3J0IG9nIGxhZ3JpbmcN+AfJB8ABEwQOA8Ci6vA1cUtAHZ0I2wEN+AfNB74BFgQRRmlza2VyaSAvIGhhdmJydWsN+AfRB9sBCx2gCCWkCDWoCD0A1AcSBAAcACQALAA0ADwATABUAF0A2AcSBAAcACQALAA0ADwATABUAF0A3AcJAAAMAwWsCBEA4AcJAAAMAwWwCBEA5AcKBAEsDAEuFAJrcugHCQAADAMFtAgRAOwHCQAADAMFuAgRAPAHCgQBLAwBLhQCa3L1B9sBCx28CCXACDXECD0A+AcSBAAcACQALAA0ADwATABUAF0A/QfbAQsdyAglzAg10Ag9AIEI2wELHdQIJdgINdwIPQCFCNsBCx3gCCXkCDXoCD0AiQjbAQsd7Agl8Ag19Ag9AI0I2wELHfgIJfwINYAJPQCRCNsBCx2ECSWICTWMCT0AlQjbAQsdkAkllAk1mAk9AJkI2wELHZwJJaAJNaQJPQCdCNsBCx2oCSWsCTWwCT0AoAgJAAAMAwW0CREApAgJAAAMAwW4CREAqAgKBAEsDAEuFAJrcqwIBgEBvQmwArAICgECxQmyAr0JsAK0CAYBAc0JsAK4CAoBAtEJsgLNCbACvAgJAAAMAwXUCREAwAgJAAAMAwXYCREAxAgKBAEsDAEuFAJrcsgICQAADAMF3AkRAMwICQAADAMF4AkRANAICgQBLAwBLhQCa3LUCAkAAAwDBeQJEQDYCAkAAAwDBegJEQDcCAoEASwMAS4UAmty4AgJAAAMAwXsCREA5AgJAAAMAwXwCREA6AgKBAEsDAEuFAJrcuwICQAADAMF9AkRAPAICQAADAMF+AkRAPQICgQBLAwBLhQCa3L4CAkAAAwDBfwJEQD8CAkAAAwDBYAKEQCACQoEASwMAS4UAmtyhAkJAAAMAwWEChEAiAkJAAAMAwWIChEAjAkKBAEsDAEuFAJrcpAJCQAADAMFjAoRAJQJCQAADAMFkAoRAJgJCgQBLAwBLhQCa3KcCQkAAAwDBZQKEQCgCQkAAAwDBZgKEQCkCQoEASwMAS4UAmtyqAkJAAAMAwWcChEArAkJAAAMAwWgChEAsAkKBAEsDAEuFAJrcrQJBgEBpQqwArgJCgECqQqyAqUKsALCCUBBbHR1YS5EYXRhLk51bWJlckZvcm1hdHRpbmcuTnVtYmVyRm9ybWF0VmFsdWVTZWdtZW50LCBBbHR1YS5EYXRhvQmwAgUEAwWsCsoJP0FsdHVhLkRhdGEuTnVtYmVyRm9ybWF0dGluZy5OdW1iZXJGb3JtYXRUZXh0U2VnbWVudCwgQWx0dWEuRGF0YcUJsgIFBAEtCQHNCbACBQQDBbAK0QmyAgUEAS0JAdQJBgEBtQrOAtgJCgECvQqyArUKzgLcCQYBAcEKzgLgCQoBAsUKsgLBCs4C5AkGAQHJCs4C6AkKAQLNCrICyQrOAuwJBgEB0QrOAvAJCgEC1QqyAtEKzgL0CQYBAdkKzgL4CQoBAt0KsgLZCs4C/AkGAQHhCs4CgAoKAQLlCrIC4QrOAoQKBgEB6QrOAogKCgEC7QqyAukKzgKMCgYBAfEKzgKQCgoBAvUKsgLxCs4ClAoGAQH5Cs4CmAoKAQL9CrIC+QrOApwKBgEBgQvOAqAKCgEChQuyAoELzgKlCrACBQQDBYgLqQqyAgUEAS0JAawKBgEBjQvkArAKBgEBjQvkAroKQkFsdHVhLkRhdGEuTnVtYmVyRm9ybWF0dGluZy5OdW1iZXJGb3JtYXRHZW5lcmFsU2VnbWVudCwgQWx0dWEuRGF0YbUKzgIAvQqyAgUEAS0JAcEKzgIAxQqyAgUEAS0JAckKzgIAzQqyAgUEAS0JAdEKzgIA1QqyAgUEAS0JAdkKzgIA3QqyAgUEAS0JAeEKzgIA5QqyAgUEAS0JAekKzgIA7QqyAgUEAS0JAfEKzgIA9QqyAgUEAS0JAfkKzgIA/QqyAgUEAS0JAYELzgIAhQuyAgUEAS0JAYgLBgEBjQvkApILOUFsdHVhLkRhdGEuTnVtYmVyRm9ybWF0dGluZy5OdW1iZXJQbGFjZWhvbGRlciwgQWx0dWEuRGF0YY0L5AIFAjAAAAA="/>
  <p:tag name="GRUNT-RENDERHASH" val="4c1193f43d6cd13558939017d456b223-svg"/>
  <p:tag name="GRUNT-X-SHAPEBOUNDS" val="ASIBBAAAAEDq2IVAAAAA4O5+bUAAAABgJBhnQAAAAMAexmBAAA=="/>
  <p:tag name="GRUNT-X-PAGEOBJECT" val="AQUC4TEKOEFsdHVhLk9hay5Db3JlLkRvY3VtZW50TW9kZWwuQ2hhcnRPYmplY3QsIEFsdHVhLk9hay5Db3JlBQI1BBIEEB81FcFYGCBBi+tv0+Q/pGUMEgQQpHyOdkumnkWbDratOY3FnhUNBCUUNRg9HFUgZSQSUEFsdHVhLk9hay5Db3JlLkRvY3VtZW50TW9kZWwuVGVtcGxhdGluZy5DdXN0b21Qb3NpdGlvbkRlZmluaXRpb24sIEFsdHVhLk9hay5Db3JlDQQkBCIBBFklo0fq2oVAQNape4gYb0CwdyxvJAhnQMTYHP6j8ldAFBMVKB0sNTA4AEU1DlU8XUBkAgVEGAQEAgVIHAIFTCALBVAMBW5iLU5PFVQkEAEBCQERARkBIQEpATEBOQAoFgQSBBAAAAAAAAAAAAAAAAAAAAAACAEsFgQSBBAAAAAAAAAAAAAAAAAAAAAACAEwADpFQWx0dWEuT2FrLkNvcmUuQ2hhcnQuU3RhY2tlZEJhcldpdGhMaW5lUGxvdERlZmluaXRpb24sIEFsdHVhLk9hay5Db3JlNQ4yBBIEEM5v+KjJN+tGszY5CkduRxMcAgVYJVw1YDwCBWRJAW1opQFtHKkBALUBdR69AXw8BQWAAQ0AQAQBAAkARBQBCYQBiAGMAZABlAGYAZwBoAGkAUgCAQBMAFAKBAEsDAEgFAJrclQJBAVuYi1OTwgBWAQBAagBXA0AAQgBFAMFrAEcACUAYCYEIgEEAAAAAAAAEEAAAAAAAAAQQAAAAAAAABBAAAAAAAAAEEAIBGQCAQBoCwMAAAAAAABMQAggckVBbHR1YS5PYWsuQ29yZS5QbG90dGluZy5BdXRvbWF0aWNDYXRlZ29yeUF4aXNTZXR0aW5ncywgQWx0dWEuT2FrLkNvcmVtHBMBAQ2wARAAGQEwAD20AUW4AUgBej1BbHR1YS5PYWsuQ29yZS5UaGVtaW5nLlBhZ2VDb2xvclNjaGVtZVBvaW50ZXIsIEFsdHVhLk9hay5Db3JldR4AfEo1vAE9wAFFxAFVyAFdzAF10AGNAdQBnQHYAaUB3AGtAeABzQHkAdUB6AHdAewB5QHwAe0B9AH1AfgB/QH8AYUCgAKNAoQClQKIAoABCIwCkAKUApgChAFIBBIEEFys0V4pUalWstY4UMl3wVwMEgQQg4Ak/Seo10qTQ60UOofvGRWcAhwSBBACAAAAAAAAAAAAAAABAAABJAAtoAI1pQJKiAFIBBIEECvUP8zDQMlaiAqgu8NeRTIMEgQQg4Ak/Seo10qTQ60UOofvGRWsAhwSBBACAAAAAAAAAAAAAAACAAACJAAtsAI1pQJKjAFIBBIEEKqkKxvzHnpZmprmbcF3DAAMEgQQg4Ak/Seo10qTQ60UOofvGRW0AhwSBBACAAAAAAAAAAAAAAADAAADJAAtuAI1pQJKkAFIBBIEEGjXtQp8HQ1fl+pAAk6JF+kMEgQQg4Ak/Seo10qTQ60UOofvGRW8AhwSBBACAAAAAAAAAAAAAAAEAAAEJAAtwAI1pQJKlAFIBBIEEMm7m/xPk2JelBBOU2p/wHQMEgQQg4Ak/Seo10qTQ60UOofvGRXEAhwSBBACAAAAAAAAAAAAAAAFAAAFJAAtyAI1pQJKmAFIBBIEEHhprqvWQr1UpUkd88dgGZ8MEgQQg4Ak/Seo10qTQ60UOofvGRXMAhwSBBACAAAAAAAAAAAAAAAGAAAGJAAt0AI1pQJKnAFIBBIEEFNAEGk6zF9Zj615kzfN6zcMEgQQg4Ak/Seo10qTQ60UOofvGRXUAhwSBBACAAAAAAAAAAAAAAAHAAAHJAAt2AI1pQJKoAFIBBIEEKLjoAQXvdxQm8UXFL+RpJIMEgQQg4Ak/Seo10qTQ60UOofvGRXcAhwSBBACAAAAAAAAAAAAAAAIAAAIJAAt4AI1pQJKpAFIBBIEEF3nq3PTcsFWiCpAMXSTw0wMEgQQg4Ak/Seo10qTQ60UOofvGRXkAhwSBBACAAAAAAAAAAAAAAAJAAAJJAAt6AI1pQJKqAFCAQAYAyXsAikAMQBAAEgCVfACXfQCZBIEEIOAJP0nqNdKk0OtFDqH7xlt+AJ1/AKNAYADkQEBnQGEA6UBiAO1AYwDrAECAQCwAQIBALQBBgWRA2UIBLgBBgWZA2UIBLwBBQQDBZwDwAEFBAMFoAPEAQUEAwWkA8gBBQQDBagDzAEFBAMFnAPQAQUEAwWcA9QBBQQDBawD2AEFBAMFsAPcAQUEAwW0A+ABBQQDBbgD5AEFBAMFvAPoAQUEAwXAA+wBBQQDBcQD8AEFBAMFyAP0AQUEAwXMA/gBBQQDBdAD/AEFBAMF1AOAAgUEAwXYA4QCBQQDBdwDiAIFBAMF4AOMAisEEgQQ6EQTZ0LG/FqGmZcJznnGTAwSBBABAAAAAAAAAAAAAAABAAABHAEBkAIrBBIEENKZ4w7GxNteu5Dm3ChZhzMMEgQQOtilbixg7Eq5P1JucPFENRwBAZQCKwQSBBAAFSrvsLQWVoscJYS2ZyUQDBIEEHRVd/ay0EhEtape60KRERscAQGYAioEEgQQ6hHnTY/If0KLcz0d4XiiIAwSBBCwQOTz8YMiRYO2rzqPy/i8HACcAgUF5AMIAaACBAUACAGqAj5BbHR1YS5PYWsuQ29yZS5DaGFydC5EZWZhdWx0UGxvdFNlcmllc1NldHRpbmdzLCBBbHR1YS5PYWsuQ29yZaUCSgCsAgUF5AMIAbACBAUACAG0AgUF5AMIAbgCBAUACAG8AgUF5AMIAcACBAUACAHEAgUF5AMIAcgCBAUACAHMAgUF5AMIAdACBAUACAHUAgUF5AMIAdgCBAUACAHcAgUF5AMIAeACBAUACAHkAgUF5AMIAegCBAUACAHsAgsDAAAAAAAAAAAIAfACCwMAAAAAAAAAAAgB9AILAwAAAAAAAAAACAH4AhUF6AMN7AMV8AMd9AMl+AMt/AM1gAT8AgcNhAQViQRlgAMLAwAAAAAAAAAACASEAwYFjQRlCASIAwYFjQRlCASMAwUEAwWQBJYDM0FsdHVhLk9hay5Db3JlLlRoZW1pbmcuQ29sb3JQb2ludGVyLCBBbHR1YS5PYWsuQ29yZZEDZVBQUP+ZA2VQUFD/nAMCAQCgAw4BBpQEmAScBKAEpASoBKQDBAEBrASoAwIBAKwDAgEAsAMCAQC0AxABB7AEtAS4BLwEwATEBMgEuAMCAQC8Aw4BBswE0ATUBNgE3ATgBMADFAEJ5AToBOwE8AT0BPgE/ASABYQFxAMCAQDIAwQBAYgFzAMKAQSMBZAFlAWYBdADAgEA1AMCAQDYAwIBANwDAgEA4AMCAQDkAwUEAwWcBegDBwQDBAEACATsAwUEAS4IBPADBAABCAT0AwQAAAgE+AMEBAAIBPwDBAQACASABAQAAAgEhAQFBAMFoAWJBGU+PuX/jQRlUFBQ/5AEAgEAlAQOBaUFqgELAAAAAAAAAACYBA4FrQWsAQsAAAAAAAAAAJwEDgW1Ba4BCwAAAAAAAOA/oAQOBb0FsAELAAAAAAAA4D+kBA4FxQWyAQsAAAAAAADgP6gEDgXNBbQBCwAAAAAAAPg/rAQIBdUFsgEN2AWwBAoF3QW4AQ3lBboBtAQKBe0FqgEN8QW9AbgECgX5Ba4BDf0FvQG8BAoFgQawAQ2FBr0BwAQJBYkGwwENkQZlxAQKBZUGxgENnQa9AcgECQWhBsYBDaUGZcwEBwWpBssBCQDQBAcFsQbNAQkB1AQHBbkGzwEJAdgEBwXBBtEBCQHcBAcFyQbTAQkB4AQHBdEG1QEJAeQECgXZBtcBDeEG2QHoBAoF6QbbAQ3xBt0B7AQKBfkG3wENgQfhAfAECgWJB98BDY0H5AH0BAoFlQfPAQ2NB+QB+AQKBZkHywENnQfoAfwECgWlB9EBDZ0H6AGABQoFqQfTAQ2tB+wBhAUKBdEG1QENtQfuAYgFCgW9B/ABDcUH8gGMBQoFzQfLAQ3RB/UBkAUKBdkH2wEN3Qf1AZQFCgXhB9EBDeUH9QGYBQoF6QfXAQ3tB/UBnAUCAQCgBQQBAgEEqgVTQWx0dWEuT2FrLkNvcmUuTW9kaWZpY2F0aW9uLlN0eWxpbmcuQWxsVmFsdWVBeGlzQ3VzdG9taXphdGlvblRhcmdldCwgQWx0dWEuT2FrLkNvcmWlBaoBALIFWUFsdHVhLk9hay5Db3JlLk1vZGlmaWNhdGlvbi5TdHlsaW5nLlZhbHVlQXhpc0dyaWRsaW5lc0N1c3RvbWl6YXRpb25UYXJnZXQsIEFsdHVhLk9hay5Db3JlrQWsAQC6BVNBbHR1YS5PYWsuQ29yZS5Nb2RpZmljYXRpb24uU3R5bGluZy5DYXRlZ29yeUF4aXNDdXN0b21pemF0aW9uVGFyZ2V0LCBBbHR1YS5PYWsuQ29yZbUFrgEAwgVQQWx0dWEuT2FrLkNvcmUuTW9kaWZpY2F0aW9uLlN0eWxpbmcuT3JpZ29MaW5lQ3VzdG9taXphdGlvblRhcmdldCwgQWx0dWEuT2FrLkNvcmW9BbABAMoFXUFsdHVhLk9hay5Db3JlLk1vZGlmaWNhdGlvbi5TdHlsaW5nLkFsbENvbm5lY3RvcnNBdXhpbGlhcnlDdXN0b21pemF0aW9uVGFyZ2V0LCBBbHR1YS5PYWsuQ29yZcUFsgEA0gVZQWx0dWEuT2FrLkNvcmUuTW9kaWZpY2F0aW9uLlN0eWxpbmcuU2VyaWVzV2l0aFBsb3RLaW5kQ3VzdG9taXphdGlvblRhcmdldCwgQWx0dWEuT2FrLkNvcmXNBbQBAwXwB9UFsgEA2AUFDAMF9AfiBVZBbHR1YS5PYWsuQ29yZS5Nb2RpZmljYXRpb24uU3R5bGluZy5BbGxTZXJpZXNNYXJrZXJDdXN0b21pemF0aW9uVGFyZ2V0LCBBbHR1YS5PYWsuQ29yZd0FuAEA6gU6QWx0dWEuT2FrLkNvcmUuVGhlbWluZy5CaW5kaW5nQ29sb3JQb2ludGVyLCBBbHR1YS5PYWsuQ29yZeUFugEFBfkH/wHtBaoBAPYFN0FsdHVhLk9hay5Db3JlLlRoZW1pbmcuUGFnZUNvbG9yUG9pbnRlciwgQWx0dWEuT2FrLkNvcmXxBb0BBAAACAD5Ba4BAP0FvQEEAAAIAIEGsAEAhQa9AQQAAAgAjgZTQWx0dWEuT2FrLkNvcmUuTW9kaWZpY2F0aW9uLlN0eWxpbmcuQWxsR3JpZGxpbmVzQ3VzdG9taXphdGlvblRhcmdldCwgQWx0dWEuT2FrLkNvcmWJBsMBAJEGZYCAgP+aBlBBbHR1YS5PYWsuQ29yZS5Nb2RpZmljYXRpb24uU3R5bGluZy5Db21wb3NpdGVDdXN0b21pemF0aW9uVGFyZ2V0LCBBbHR1YS5PYWsuQ29yZZUGxgEFBAMFgAidBr0BBAAFCAChBsYBBQQDBYQIpQZlAADA/64GWEFsdHVhLk9hay5Db3JlLk1vZGlmaWNhdGlvbi5TdHlsaW5nLkFsbFZhbHVlQXhpc0xhYmVsQ3VzdG9taXphdGlvblRhcmdldCwgQWx0dWEuT2FrLkNvcmWpBssBALYGZkFsdHVhLk9hay5Db3JlLk1vZGlmaWNhdGlvbi5TdHlsaW5nLlN0YWNrZWRCYXJBdXRvbWF0aWNTZWdtZW50TGFiZWxDdXN0b21pemF0aW9uVGFyZ2V0LCBBbHR1YS5PYWsuQ29yZbEGzQEAvgZVQWx0dWEuT2FrLkNvcmUuTW9kaWZpY2F0aW9uLlN0eWxpbmcuQWxsVG90YWxMYWJlbHNDdXN0b21pemF0aW9uVGFyZ2V0LCBBbHR1YS5PYWsuQ29yZbkGzwEAxgZXQWx0dWEuT2FrLkNvcmUuTW9kaWZpY2F0aW9uLlN0eWxpbmcuQWxsQ2F0ZWdvcnlMYWJlbEN1c3RvbWl6YXRpb25UYXJnZXQsIEFsdHVhLk9hay5Db3JlwQbRAQDOBlhBbHR1YS5PYWsuQ29yZS5Nb2RpZmljYXRpb24uU3R5bGluZy5BbGxBdXhpbGlhcnlMYWJlbEN1c3RvbWl6YXRpb25UYXJnZXQsIEFsdHVhLk9hay5Db3JlyQbTAQDWBlhBbHR1YS5PYWsuQ29yZS5Nb2RpZmljYXRpb24uU3R5bGluZy5TZXJpZXNMYWJlbE9mVHlwZUN1c3RvbWl6YXRpb25UYXJnZXQsIEFsdHVhLk9hay5Db3Jl0QbVAQIAAt4GWEFsdHVhLk9hay5Db3JlLk1vZGlmaWNhdGlvbi5TdHlsaW5nLkNhdGVnb3J5QXhpc1RpdGxlQ3VzdG9taXphdGlvblRhcmdldCwgQWx0dWEuT2FrLkNvcmXZBtcBAOYGRkFsdHVhLk9hay5Db3JlLlBsb3R0aW5nLkF4aXNUaXRsZUxhYmVsUGxhY2VtZW50T3V0c2lkZSwgQWx0dWEuT2FrLkNvcmXhBtkBAgAB7gZdQWx0dWEuT2FrLkNvcmUuTW9kaWZpY2F0aW9uLlN0eWxpbmcuQWxsVmFsdWVBeGlzVGl0bGVMYWJlbEN1c3RvbWl6YXRpb25UYXJnZXQsIEFsdHVhLk9hay5Db3Jl6QbbAQD2BkJBbHR1YS5PYWsuQ29yZS5QbG90dGluZy5BeGlzVGl0bGVMYWJlbFBsYWNlbWVudEZhciwgQWx0dWEuT2FrLkNvcmXxBt0BAgAA/gZfQWx0dWEuT2FrLkNvcmUuTW9kaWZpY2F0aW9uLlN0eWxpbmcuU2VyaWVzTGFiZWxzV2l0aFBsb3RLaW5kQ3VzdG9taXphdGlvblRhcmdldCwgQWx0dWEuT2FrLkNvcmX5Bt8BBQWICAgAhgc8QWx0dWEuT2FrLkNvcmUuUGxvdHRpbmcuTGFiZWxQbGFjZW1lbnRJbnNpZGUsIEFsdHVhLk9hay5Db3JlgQfhAQQAAQgBiQffAQUFjAgIAJIHPUFsdHVhLk9hay5Db3JlLlBsb3R0aW5nLkxhYmVsUGxhY2VtZW50T3V0c2lkZSwgQWx0dWEuT2FrLkNvcmWNB+QBAJUHzwEAmQfLAQCiB0FBbHR1YS5PYWsuQ29yZS5QbG90dGluZy5BeGlzTGFiZWxQbGFjZW1lbnRPdXRzaWRlLCBBbHR1YS5PYWsuQ29yZZ0H6AECAQClB9EBAKkH0wEAsgdGQWx0dWEuT2FrLkNvcmUuUGxvdHRpbmcuQXV4aWxpYXJ5TGFiZWxQbGFjZW1lbnREZWZhdWx0LCBBbHR1YS5PYWsuQ29yZa0H7AEAugdDQWx0dWEuT2FrLkNvcmUuUGxvdHRpbmcuTGFiZWxQbGFjZW1lbnRTZXJpZXNPdXRzaWRlLCBBbHR1YS5PYWsuQ29yZbUH7gECAADCB1BBbHR1YS5PYWsuQ29yZS5Nb2RpZmljYXRpb24uU3R5bGluZy5BbGxMYWJlbHNDdXN0b21pemF0aW9uVGFyZ2V0LCBBbHR1YS5PYWsuQ29yZb0H8AEAygdCQWx0dWEuT2FrLkNvcmUuU3ludGF4U3RydWN0dXJlLkFjdHVhbEZvbnRTaXplVmFsdWUsIEFsdHVhLk9hay5Db3JlxQfyAQkDAAAAAAAAIkDNB8sBANYHQ0FsdHVhLk9hay5Db3JlLlN5bnRheFN0cnVjdHVyZS5BY3R1YWxGb250Q29sb3JWYWx1ZSwgQWx0dWEuT2FrLkNvcmXRB/UBBQWRCL0B2QfbAQDdB/UBBQWVCL0B4QfRAQDlB/UBBQWZCL0B6QfXAQDtB/UBBQWdCL0B8AcBBfQHCgECAACAQAAAQED+B0hBbHR1YS5PYWsuQ29yZS5TeW50YXhTdHJ1Y3R1cmUuUGxvdFNlcmllc0JpbmRpbmdTdHJhdGVneSwgQWx0dWEuT2FrLkNvcmX5B/8BAIAIDgEDoQiJAqkIiQKtCIkChAgGAQGxCI0CiAgCAAGMCAEFkQi9AQQAAAgAlQi9AQQAAAgAmQi9AQQAAAgAnQi9AQQAAAgApghQQWx0dWEuT2FrLkNvcmUuTW9kaWZpY2F0aW9uLlN0eWxpbmcuRGF0YVBvaW50Q3VzdG9taXphdGlvblRhcmdldCwgQWx0dWEuT2FrLkNvcmWhCIkCKAQSBBBcrNFeKVGpVrLWOFDJd8FcDBIEEAAVKu+wtBZWixwlhLZnJRCpCIkCKAQSBBBcrNFeKVGpVrLWOFDJd8FcDBIEENKZ4w7GxNteu5Dm3ChZhzOtCIkCKAQSBBBcrNFeKVGpVrLWOFDJd8FcDBIEEOhEE2dCxvxahpmXCc55xky2CE1BbHR1YS5PYWsuQ29yZS5Nb2RpZmljYXRpb24uU3R5bGluZy5TZXJpZXNDdXN0b21pemF0aW9uVGFyZ2V0LCBBbHR1YS5PYWsuQ29yZbEIjQIUBBIEEFys0V4pUalWstY4UMl3wVw="/>
  <p:tag name="GRUNT-SYNC" val="ebd72856feb04f1980fabf80cc16310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5f3c8bbc-c345-4849-8770-cfa3c39d0de8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oRUKN0FsdHVhLkRhdGEuRGF0YVNlcnZpY2VzLkVtYmVkZGVkRGF0YVNlcnZpY2UsIEFsdHVhLkRhdGEFAhkEEgQQZN8tas8GskCvGPeJn2cMGQ0MJREFDAYFGAgUEAoWQUFsdHVhLkRhdGEuRGF0YVNlcnZpY2VzLkVtYmVkZGVkRGF0YVNlcnZpY2VFZGl0b3JEYXRhLCBBbHR1YS5EYXRhEQUEBRwNIBgGBSQNKBUsHDwdBBIEENNz8cQb9wFOoDLwDWItJDkLAAAAAAAAHEAdBBIEEB/rjDimIctLiTIXQgTfWDQLAAAAAAAgYkAglgEdBBIEEAW3udO3DvRJkWQYTUZuRawLAAAAAAAAMkAdBBIEEBF5bi6YHOlPpT4SGa3b+1ULAAAAAAAAMkAdBBIEEIQfkeIbhTVBsLhWaz1JSQ8LAAAAAAAAMkAdBBIEEPksWf79329Fuf5n0yPSqyMLAAAAAAAAMkAdBBIEEKTBruNnE2hCqBmPMX5a7skLAAAAAAAAMkAkBTA0ODxAKAJESCzCAywEKAQSBBDajSsQe0+aTJlGK/NOL/gcDBIEEF+XkJfEWrtCmxAwBnFOxVkNTCwEKAQSBBB1npiRXEMrR4CNoMsd75TjDBIEEF+XkJfEWrtCmxAwBnFOxVkNUCwEKAQSBBAf64w4piHLS4kyF0IE31g0DBIEEOjcGhWyCfxHkHpCy/xxYFsNVCwEKAQSBBDiZ4LqncAVT7eeYK508WqGDBIEEF+XkJfEWrtCmxAwBnFOxVkNWCwEKAQSBBAf64w4piHLS4kyF0IE31g0DBIEEF+XkJfEWrtCmxAwBnFOxVkNXCwEKAQSBBD3DW6nGDeySJvO+xOVXgd1DBIEEF+XkJfEWrtCmxAwBnFOxVkNYCwEKAQSBBD3DW6nGDeySJvO+xOVXgd1DBIEEOjcGhWyCfxHkHpCy/xxYFsNZCwEKAQSBBDiZ4LqncAVT7eeYK508WqGDBIEEOjcGhWyCfxHkHpCy/xxYFsNaCwEKAQSBBDajSsQe0+aTJlGK/NOL/gcDBIEEOjcGhWyCfxHkHpCy/xxYFsNbCwEKAQSBBB1npiRXEMrR4CNoMsd75TjDBIEEOjcGhWyCfxHkHpCy/xxYFsNcDAaBBIEENqNKxB7T5pMmUYr804v+BwMAkMxGQE0GgQSBBAf64w4piHLS4kyF0IE31g0DAJDMhkBOBoEEgQQdZ6YkVxDK0eAjaDLHe+U4wwCQzMZATwbBBIEEPcNbqcYN7JIm877E5VeB3UMA0MxOBkBQBsEEgQQ4meC6p3AFU+3nmCudPFqhgwDQzE5GQFEGgQSBBBfl5CXxFq7QpsQMAZxTsVZDAJSMRkBSBoEEgQQ6NwaFbIJ/EeQekLL/HFgWwwCUjIZAUwEDXQVeFAEDXQVfFQFDXQVgAFYBg2EARWIAVwFDXQVjAFgBg2EARWQAWQGDYQBFZQBaAYNhAEVmAFsBQ10FZwBcAUNdBWgAXQCBAB4BQQDBaQBfAUEAwWoAYABBQQDBawBhAECBACIAQUEAwWwAYwBBQQDBbQBkAEFBAMFuAGUAQUEAwW8AZgBBQQDBcABnAEFBAMFxAGgAQUEAwXIAaQBAgEAqAEFAQHNATSsAQUBAdUBNLABBQEB2QE0tAEFAQHdATS4AQUBAeEBNLwBBQEB5QE0wAEFAQHpATTEAQUBAe0BNMgBBQEB8QE00gEvQWx0dWEuRGF0YS5JbmZyYXN0cnVjdHVyZS5QYXJhZ3JhcGgsIEFsdHVhLkRhdGHNATQFDAMF9AHVATQFDAMF+AHZATQFDAMF/AHdATQFDAMFgALhATQFDAMFhALlATQFDAMFiALpATQFDAMFjALtATQFDAMFkALxATQFDAMFlAL0AQUBAZkCR/gBBQEBoQJJ/AEFAQGpAkeAAgUBAa0CR4QCBQEBsQJHiAIFAQG1AkmMAgUBAbkCSZACBQEBvQJJlAIFAQHBAkmeAi1BbHR1YS5EYXRhLkluZnJhc3RydWN0dXJlLlRleHRSdW4sIEFsdHVhLkRhdGGZAkcUBA9UcsO4bmRlbGFnIFPDuHINxAKmAi9BbHR1YS5EYXRhLkluZnJhc3RydWN0dXJlLk51bWJlclJ1biwgQWx0dWEuRGF0YaECSRIEDQMAAAAAAAAiQB3JAlMN0AKpAkcKBAVOb3JnZQ3UAq0CRxQED1Ryw7huZGVsYWcgTm9yZA3YArECRxUEEE3DuHJlIG9nIFJvbXNkYWwNxAK1AkkSBA0DAAAAAACAQ0Ad3QJTDeACuQJJEgQNAwAAAAAAADtAHeUCUw3oAr0CSRIEDQMAAAAAAKCfQB3tAlMN8ALBAkkSBA0DAAAAAAAAO0Ad9QJTDfgCxAISBAAcACQALAA0ADwATABUAF0AzgI9QWx0dWEuRGF0YS5OdW1iZXJGb3JtYXR0aW5nLkNvbXBvc2l0ZU51bWJlckZvcm1hdCwgQWx0dWEuRGF0YckCUwsd/AIlgAM1hAM9ANACEgQAHAAkACwANAA8AEwAVABdANQCEgQAHAAkACwANAA8AEwAVABdANgCEgQAHAAkACwANAA8AEwAVABdAN0CUwsdiAMljAM1kAM9AOACEgQAHAAkACwANAA8AEwAVABdAOUCUwsdlAMlmAM1nAM9AOgCEgQAHAAkACwANAA8AEwAVABdAO0CUwsdoAMlpAM1qAM9APACEgQAHAAkACwANAA8AEwAVABdAPUCUwsdrAMlsAM1tAM9APgCEgQAHAAkACwANAA8AEwAVABdAPwCCQAADAMFuAMRAIADCQAADAMFvAMRAIQDCgQBLAwBLhQCa3KIAwkAAAwDBcADEQCMAwkAAAwDBcQDEQCQAwoEASwMAS4UAmtylAMJAAAMAwXIAxEAmAMJAAAMAwXMAxEAnAMKBAEsDAEuFAJrcqADCQAADAMF0AMRAKQDCQAADAMF1AMRAKgDCgQBLAwBLhQCa3KsAwkAAAwDBdgDEQCwAwkAAAwDBdwDEQC0AwoEASwMAS4UAmtyuAMFAQHhA3m8AwgBAukDe+EDecADBQEB8QN5xAMIAQL1A3vxA3nIAwUBAfkDecwDCAEC/QN7+QN50AMFAQGBBHnUAwgBAoUEe4EEedgDBQEBiQR53AMIAQKNBHuJBHnmA0BBbHR1YS5EYXRhLk51bWJlckZvcm1hdHRpbmcuTnVtYmVyRm9ybWF0VmFsdWVTZWdtZW50LCBBbHR1YS5EYXRh4QN5BQQDBZAE7gM/QWx0dWEuRGF0YS5OdW1iZXJGb3JtYXR0aW5nLk51bWJlckZvcm1hdFRleHRTZWdtZW50LCBBbHR1YS5EYXRh6QN7BQQBLQkB8QN5BQQDBZQE9QN7BQQBLQkB+QN5BQQDBZgE/QN7BQQBLQkBgQR5BQQDBZwEhQR7BQQBLQkBiQR5BQQDBaAEjQR7BQQBLQkBkAQGAQGlBIoBlAQGAQGlBIoBmAQGAQGlBIoBnAQGAQGtBIoBoAQGAQGlBIoBqgQ5QWx0dWEuRGF0YS5OdW1iZXJGb3JtYXR0aW5nLk51bWJlclBsYWNlaG9sZGVyLCBBbHR1YS5EYXRhpQSKAQUCMAAAAK0EigEFAjAAAAA="/>
  <p:tag name="GRUNT-RENDERHASH" val="82933e578af0938983c23779ebb667e8-svg"/>
  <p:tag name="GRUNT-X-SHAPEBOUNDS" val="ASIBBAAAAMCFzk5AAAAAYGZmckAAAAAg8md5QAAAAIDB619AAA=="/>
  <p:tag name="GRUNT-X-PAGEOBJECT" val="AQUC7S0KOEFsdHVhLk9hay5Db3JlLkRvY3VtZW50TW9kZWwuQ2hhcnRPYmplY3QsIEFsdHVhLk9hay5Db3JlBQI1BBIEEAi7sBKwSfhBu7S+f5YlAr4MEgQQZN8tas8GskCvGPeJn2cMGRUNBCUUNRg9HFUgZSQSUEFsdHVhLk9hay5Db3JlLkRvY3VtZW50TW9kZWwuVGVtcGxhdGluZy5DdXN0b21Qb3NpdGlvbkRlZmluaXRpb24sIEFsdHVhLk9hay5Db3JlDQQkBCIBBCiMVs6F7k5AzszMzMxsc0D7PAIl8l95QCDpxaX0nlNAFBMVKB0sNTA4AEU1DlU8XUBkAgVEGAQEAgVIHAIFTCALBVAMBW5iLU5PFVQkEAEBCQERARkBIQEpATEBOQAoFgQSBBAAAAAAAAAAAAAAAAAAAAAACAEsFgQSBBAAAAAAAAAAAAAAAAAAAAAACAEwADpHQWx0dWEuT2FrLkNvcmUuQ2hhcnQuQ2x1c3RlcmVkQmFyV2l0aExpbmVQbG90RGVmaW5pdGlvbiwgQWx0dWEuT2FrLkNvcmU1DjUEEgQQg3dySuPNI06TN1HQrRkKO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DwMN2+WihPSZyluVchP2kSFYQCHBIEEBF5bi6YHOlPpT4SGa3b+1UkAC2IAjWNAkSMAUgEEgQQOa6hS2PnK1Gv94eZJj3pqAwSBBDwMN2+WihPSZyluVchP2kSFZQCHBIEEOjcGhWyCfxHkHpCy/xxYFskAC2YAjWNAkSQAUIBABgDJZwCKQAxAEAASAJVoAJdpAJkEgQQ8DDdvlooT0mcpblXIT9pEm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KE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1183fe8d021e4a18bda2ea4c6299198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yRIKN0FsdHVhLkRhdGEuRGF0YVNlcnZpY2VzLkVtYmVkZGVkRGF0YVNlcnZpY2UsIEFsdHVhLkRhdGEFAhkEEgQQQ2yG0f3HVEWygud/IEIoVw0MJREFDAYFGAgUEAoWQUFsdHVhLkRhdGEuRGF0YVNlcnZpY2VzLkVtYmVkZGVkRGF0YVNlcnZpY2VFZGl0b3JEYXRhLCBBbHR1YS5EYXRhEQUEBRwNIBgGBSQNKBUsHFodBBIEENNz8cQb9wFOoDLwDWItJDkLAAAAAAAAHEAdBBIEEB/rjDimIctLiTIXQgTfWDQLAAAAAAAgYkAdBBIEEOJnguqdwBVPt55grnTxaoYLAAAAAACAREAglgEdBBIEEAW3udO3DvRJkWQYTUZuRawLAAAAAAAAMkAdBBIEEBF5bi6YHOlPpT4SGa3b+1ULAAAAAAAAMkAdBBIEEIQfkeIbhTVBsLhWaz1JSQ8LAAAAAAAAMkAdBBIEEPksWf79329Fuf5n0yPSqyMLAAAAAAAAMkAdBBIEEKTBruNnE2hCqBmPMX5a7skLAAAAAAAAMkAkBDA0ODwoAkBELOgCLAQoBBIEENqNKxB7T5pMmUYr804v+BwMEgQQX5eQl8Rau0KbEDAGcU7FWQ1ILAQoBBIEEHWemJFcQytHgI2gyx3vlOMMEgQQX5eQl8Rau0KbEDAGcU7FWQ1MLAQoBBIEEB/rjDimIctLiTIXQgTfWDQMEgQQ6NwaFbIJ/EeQekLL/HFgWw1QLAQoBBIEEB/rjDimIctLiTIXQgTfWDQMEgQQX5eQl8Rau0KbEDAGcU7FWQ1ULAQoBBIEEPcNbqcYN7JIm877E5VeB3UMEgQQX5eQl8Rau0KbEDAGcU7FWQ1YLAQoBBIEEPcNbqcYN7JIm877E5VeB3UMEgQQ6NwaFbIJ/EeQekLL/HFgWw1cLAQoBBIEENqNKxB7T5pMmUYr804v+BwMEgQQ6NwaFbIJ/EeQekLL/HFgWw1gLAQoBBIEEHWemJFcQytHgI2gyx3vlOMMEgQQ6NwaFbIJ/EeQekLL/HFgWw1kMBoEEgQQ2o0rEHtPmkyZRivzTi/4HAwCQzEZATQaBBIEEB/rjDimIctLiTIXQgTfWDQMAkMyGQE4GgQSBBB1npiRXEMrR4CNoMsd75TjDAJDMxkBPBsEEgQQ9w1upxg3skibzvsTlV4HdQwDQzE4GQFAGgQSBBBfl5CXxFq7QpsQMAZxTsVZDAJSMRkBRBoEEgQQ6NwaFbIJ/EeQekLL/HFgWwwCUjIZAUgEDWgVbEwEDWgVcFAEDWgVdFQEDWgVeFgFDXwVgAFcBQ18FYQBYAUNaBWIAWQFDWgVjAFoAgQAbAUEAwWQAXAFBAMFlAF0BQQDBZgBeAUEAwWcAXwCBACAAQUEAwWgAYQBBQQDBaQBiAEFBAMFqAGMAQUEAwWsAZABAgEAlAEFAQGxAS2YAQUBAbkBLZwBBQEBvQEtoAEFAQHBAS2kAQUBAcUBLagBBQEByQEtrAEFAQHNAS22AS9BbHR1YS5EYXRhLkluZnJhc3RydWN0dXJlLlBhcmFncmFwaCwgQWx0dWEuRGF0YbEBLQUMAwXQAbkBLQUMAwXUAb0BLQUMAwXYAcEBLQUMAwXcAcUBLQUMAwXgAckBLQUMAwXkAc0BLQUMAwXoAdABBQEB7QE81AEFAQH1AT7YAQUBAf0BPNwBBQEBgQI84AEFAQGFAj7kAQUBAYkCPugBBQEBjQI+8gEtQWx0dWEuRGF0YS5JbmZyYXN0cnVjdHVyZS5UZXh0UnVuLCBBbHR1YS5EYXRh7QE8EgQNNS4wMDDigJM5Ljk5OQ2QAvoBL0FsdHVhLkRhdGEuSW5mcmFzdHJ1Y3R1cmUuTnVtYmVyUnVuLCBBbHR1YS5EYXRh9QE+EgQNAwAAAAAAABxAHZUCRg2cAv0BPBAEC1VuZGVyIDUuMDAwDaACgQI8FwQSMTAuMDAwIGVsbGVyIGZsZXJlDaQChQI+EgQNAwAAAAAAAEJAHakCRg2sAokCPhIEDQMAAAAAAKCfQB2xAkYNtAKNAj4SBA0DAAAAAAAAQUAduQJGDbwCkAISBAAcACQALAA0ADwATABUAF0AmgI9QWx0dWEuRGF0YS5OdW1iZXJGb3JtYXR0aW5nLkNvbXBvc2l0ZU51bWJlckZvcm1hdCwgQWx0dWEuRGF0YZUCRgsdwAIlxAI1yAI9AJwCEgQAHAAkACwANAA8AEwAVABdAKACEgQAHAAkACwANAA8AEwAVABdAKQCEgQAHAAkACwANAA8AEwAVABdAKkCRgsdzAIl0AI11AI9AKwCEgQAHAAkACwANAA8AEwAVABdALECRgsd2AIl3AI14AI9ALQCEgQAHAAkACwANAA8AEwAVABdALkCRgsd5AIl6AI17AI9ALwCEgQAHAAkACwANAA8AEwAVABdAMACCQAADAMF8AIRAMQCCQAADAMF9AIRAMgCCgQBLAwBLhQCa3LMAgkAAAwDBfgCEQDQAgkAAAwDBfwCEQDUAgoEASwMAS4UAmty2AIJAAAMAwWAAxEA3AIJAAAMAwWEAxEA4AIKBAEsDAEuFAJrcuQCCQAADAMFiAMRAOgCCQAADAMFjAMRAOwCCgQBLAwBLhQCa3LwAgUBAZEDZfQCCAECmQNnkQNl+AIFAQGhA2X8AggBAqUDZ6EDZYADBQEBqQNlhAMIAQKtA2epA2WIAwUBAbEDZYwDCAECtQNnsQNllgNAQWx0dWEuRGF0YS5OdW1iZXJGb3JtYXR0aW5nLk51bWJlckZvcm1hdFZhbHVlU2VnbWVudCwgQWx0dWEuRGF0YZEDZQUEAwW4A54DP0FsdHVhLkRhdGEuTnVtYmVyRm9ybWF0dGluZy5OdW1iZXJGb3JtYXRUZXh0U2VnbWVudCwgQWx0dWEuRGF0YZkDZwUEAS0JAaEDZQUEAwW8A6UDZwUEAS0JAakDZQUEAwXAA60DZwUEAS0JAbEDZQUEAwXEA7UDZwUEAS0JAbgDBQEByQNzvAMFAQHJA3PAAwUBAdEDc8QDBQEByQNzzgM5QWx0dWEuRGF0YS5OdW1iZXJGb3JtYXR0aW5nLk51bWJlclBsYWNlaG9sZGVyLCBBbHR1YS5EYXRhyQNzBQIwAAAA0QNzBQIwAAAA"/>
  <p:tag name="GRUNT-RENDERHASH" val="dc321c7bef70cbba73d3266a9c9ed973-svg"/>
  <p:tag name="GRUNT-X-SHAPEBOUNDS" val="ASIBBAAAAGCOVIJAAAAAwMxMc0AAAAAAC5ByQAAAAECOuFhAAA=="/>
  <p:tag name="GRUNT-X-PAGEOBJECT" val="AQUC7S0KOEFsdHVhLk9hay5Db3JlLkRvY3VtZW50TW9kZWwuQ2hhcnRPYmplY3QsIEFsdHVhLk9hay5Db3JlBQI1BBIEEI78Wajh+CdMnS26Z6QTO4AMEgQQQ2yG0f3HVEWygud/IEIoVxUNBCUUNRg9HFUgZSQSUEFsdHVhLk9hay5Db3JlLkRvY3VtZW50TW9kZWwuVGVtcGxhdGluZy5DdXN0b21Qb3NpdGlvbkRlZmluaXRpb24sIEFsdHVhLk9hay5Db3JlDQQkBCIBBPlIC2KOVoJANDMzMzNTdEAObukLC4hyQIhPLAxbBVBAFBMVKB0sNTA4AEU1DlU8XUBkAgVEGAQEAgVIHAIFTCALBVAMBW5iLU5PFVQkEAEBCQERARkBIQEpATEBOQAoFgQSBBAAAAAAAAAAAAAAAAAAAAAACAEsFgQSBBAAAAAAAAAAAAAAAAAAAAAACAEwADpHQWx0dWEuT2FrLkNvcmUuQ2hhcnQuQ2x1c3RlcmVkQmFyV2l0aExpbmVQbG90RGVmaW5pdGlvbiwgQWx0dWEuT2FrLkNvcmU1DjUEEgQQ2+OMl6IH5kGByay1GYTImh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CodUhFcT+ySLsk7JYqoEBKFYQCHBIEEBF5bi6YHOlPpT4SGa3b+1UkAC2IAjWNAkSMAUgEEgQQOa6hS2PnK1Gv94eZJj3pqAwSBBCodUhFcT+ySLsk7JYqoEBKFZQCHBIEEOjcGhWyCfxHkHpCy/xxYFskAC2YAjWNAkSQAUIBABgDJZwCKQAxAEAASAJVoAJdpAJkEgQQqHVIRXE/ski7JOyWKqBASm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KE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c5a67f6589df49918911a163067b989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X-SHAPEBOUNDS" val="ASIBBAAAAIAGHUlAAAAAAGrGe0AAAABAmaZaQAAAAODCVzRAAA=="/>
  <p:tag name="GRUNT-RENDERHASH" val="ff8301d62f3637bc1b36c72b2c8b12d3-svg"/>
  <p:tag name="GRUNT-X-PAGEOBJECT" val="AQUCswIKPkFsdHVhLk9hay5Db3JlLkRvY3VtZW50TW9kZWwuQ2hhcnRMZWdlbmRPYmplY3QsIEFsdHVhLk9hay5Db3JlBQI5BBIEEIx2zXck37JLjL7ZopMSgoMUEgQQg3dySuPNI06TN1HQrRkKOy0MNRBEAgUUSABVGQdlIG0kDAQEAgUoEAIFLBQCAQAeUEFsdHVhLk9hay5Db3JlLkRvY3VtZW50TW9kZWwuVGVtcGxhdGluZy5DdXN0b21Qb3NpdGlvbkRlZmluaXRpb24sIEFsdHVhLk9hay5Db3JlGQckBCIBBBgKQoEGHUlAxq1k+mnGe0AoEkw0maZaQKCVT+vCVzRAIAsFMAwFbmItTk8VNCQEAQEJASgCAQAsADAKBAEsDAEgFAJrcjQJBAVuYi1OTwgB"/>
  <p:tag name="GRUNT-SYNC" val="9eb6fc7c74a64efa85ad864e91d1dc0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X-SHAPEBOUNDS" val="ASIBBAAAAGCOVoJAAAAAAGrGe0AAAABgfMVcQAAAAODCVzRAAA=="/>
  <p:tag name="GRUNT-RENDERHASH" val="5d5043ac0f63ddf9beae5aaa9a884815-svg"/>
  <p:tag name="GRUNT-X-PAGEOBJECT" val="AQUCswIKPkFsdHVhLk9hay5Db3JlLkRvY3VtZW50TW9kZWwuQ2hhcnRMZWdlbmRPYmplY3QsIEFsdHVhLk9hay5Db3JlBQI5BBIEEHuf/ZmhBSxInUUYnuCPX9UUEgQQ2+OMl6IH5kGByay1GYTImi0MNRBEAgUUSABVGQdlIG0kDAQEAgUoEAIFLBQCAQAeUEFsdHVhLk9hay5Db3JlLkRvY3VtZW50TW9kZWwuVGVtcGxhdGluZy5DdXN0b21Qb3NpdGlvbkRlZmluaXRpb24sIEFsdHVhLk9hay5Db3JlGQckBCIBBPlIC2KOVoJAxq1k+mnGe0DgZ5BlfMVcQKCVT+vCVzRAIAsFMAwFbmItTk8VNCQEAQEJASgCAQAsADAKBAEsDAEgFAJrcjQJBAVuYi1OTwgB"/>
  <p:tag name="GRUNT-SYNC" val="6fe752ea563f4467abd23334c2ad9f8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9281f310-a5b7-49f8-aa80-f90bc378d13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oRUKN0FsdHVhLkRhdGEuRGF0YVNlcnZpY2VzLkVtYmVkZGVkRGF0YVNlcnZpY2UsIEFsdHVhLkRhdGEFAhkEEgQQ7bLhH5NUAUmbFh7KQojFYw0MJREFDAYFGAgUEAoWQUFsdHVhLkRhdGEuRGF0YVNlcnZpY2VzLkVtYmVkZGVkRGF0YVNlcnZpY2VFZGl0b3JEYXRhLCBBbHR1YS5EYXRhEQUEBRwNIBgGBSQNKBUsHDwdBBIEENNz8cQb9wFOoDLwDWItJDkLAAAAAAAAHEAdBBIEEB/rjDimIctLiTIXQgTfWDQLAAAAAAAgYkAglgEdBBIEEAW3udO3DvRJkWQYTUZuRawLAAAAAAAAMkAdBBIEEBF5bi6YHOlPpT4SGa3b+1ULAAAAAAAAMkAdBBIEEIQfkeIbhTVBsLhWaz1JSQ8LAAAAAAAAMkAdBBIEEPksWf79329Fuf5n0yPSqyMLAAAAAAAAMkAdBBIEEKTBruNnE2hCqBmPMX5a7skLAAAAAAAAMkAkBTA0ODxAKAJESCzCAywEKAQSBBDajSsQe0+aTJlGK/NOL/gcDBIEEF+XkJfEWrtCmxAwBnFOxVkNTCwEKAQSBBB1npiRXEMrR4CNoMsd75TjDBIEEF+XkJfEWrtCmxAwBnFOxVkNUCwEKAQSBBAf64w4piHLS4kyF0IE31g0DBIEEOjcGhWyCfxHkHpCy/xxYFsNVCwEKAQSBBDiZ4LqncAVT7eeYK508WqGDBIEEF+XkJfEWrtCmxAwBnFOxVkNWCwEKAQSBBAf64w4piHLS4kyF0IE31g0DBIEEF+XkJfEWrtCmxAwBnFOxVkNXCwEKAQSBBD3DW6nGDeySJvO+xOVXgd1DBIEEF+XkJfEWrtCmxAwBnFOxVkNYCwEKAQSBBD3DW6nGDeySJvO+xOVXgd1DBIEEOjcGhWyCfxHkHpCy/xxYFsNZCwEKAQSBBDiZ4LqncAVT7eeYK508WqGDBIEEOjcGhWyCfxHkHpCy/xxYFsNaCwEKAQSBBDajSsQe0+aTJlGK/NOL/gcDBIEEOjcGhWyCfxHkHpCy/xxYFsNbCwEKAQSBBB1npiRXEMrR4CNoMsd75TjDBIEEOjcGhWyCfxHkHpCy/xxYFsNcDAaBBIEENqNKxB7T5pMmUYr804v+BwMAkMxGQE0GgQSBBAf64w4piHLS4kyF0IE31g0DAJDMhkBOBoEEgQQdZ6YkVxDK0eAjaDLHe+U4wwCQzMZATwbBBIEEPcNbqcYN7JIm877E5VeB3UMA0MxOBkBQBsEEgQQ4meC6p3AFU+3nmCudPFqhgwDQzE5GQFEGgQSBBBfl5CXxFq7QpsQMAZxTsVZDAJSMRkBSBoEEgQQ6NwaFbIJ/EeQekLL/HFgWwwCUjIZAUwEDXQVeFAEDXQVfFQFDXQVgAFYBg2EARWIAVwFDXQVjAFgBg2EARWQAWQGDYQBFZQBaAYNhAEVmAFsBQ10FZwBcAUNdBWgAXQCBAB4BQQDBaQBfAUEAwWoAYABBQQDBawBhAECBACIAQUEAwWwAYwBBQQDBbQBkAEFBAMFuAGUAQUEAwW8AZgBBQQDBcABnAEFBAMFxAGgAQUEAwXIAaQBAgEAqAEFAQHNATSsAQUBAdUBNLABBQEB2QE0tAEFAQHdATS4AQUBAeEBNLwBBQEB5QE0wAEFAQHpATTEAQUBAe0BNMgBBQEB8QE00gEvQWx0dWEuRGF0YS5JbmZyYXN0cnVjdHVyZS5QYXJhZ3JhcGgsIEFsdHVhLkRhdGHNATQFDAMF9AHVATQFDAMF+AHZATQFDAMF/AHdATQFDAMFgALhATQFDAMFhALlATQFDAMFiALpATQFDAMFjALtATQFDAMFkALxATQFDAMFlAL0AQUBAZkCR/gBBQEBoQJJ/AEFAQGpAkeAAgUBAa0CR4QCBQEBsQJHiAIFAQG1AkmMAgUBAbkCSZACBQEBvQJJlAIFAQHBAkmeAi1BbHR1YS5EYXRhLkluZnJhc3RydWN0dXJlLlRleHRSdW4sIEFsdHVhLkRhdGGZAkcUBA9UcsO4bmRlbGFnIFPDuHINxAKmAi9BbHR1YS5EYXRhLkluZnJhc3RydWN0dXJlLk51bWJlclJ1biwgQWx0dWEuRGF0YaECSRIEDQMAAAAAAIBEQB3JAlMN0AKpAkcKBAVOb3JnZQ3UAq0CRxQED1Ryw7huZGVsYWcgTm9yZA3YArECRxUEEE3DuHJlIG9nIFJvbXNkYWwNxAK1AkkSBA0DAAAAAAAARUAd3QJTDeACuQJJEgQNAwAAAAAAAEZAHeUCUw3oAr0CSRIEDQMAAAAAAKCfQB3tAlMN8ALBAkkSBA0DAAAAAAAASEAd9QJTDfgCxAISBAAcACQALAA0ADwATABUAF0AzgI9QWx0dWEuRGF0YS5OdW1iZXJGb3JtYXR0aW5nLkNvbXBvc2l0ZU51bWJlckZvcm1hdCwgQWx0dWEuRGF0YckCUwsd/AIlgAM1hAM9ANACEgQAHAAkACwANAA8AEwAVABdANQCEgQAHAAkACwANAA8AEwAVABdANgCEgQAHAAkACwANAA8AEwAVABdAN0CUwsdiAMljAM1kAM9AOACEgQAHAAkACwANAA8AEwAVABdAOUCUwsdlAMlmAM1nAM9AOgCEgQAHAAkACwANAA8AEwAVABdAO0CUwsdoAMlpAM1qAM9APACEgQAHAAkACwANAA8AEwAVABdAPUCUwsdrAMlsAM1tAM9APgCEgQAHAAkACwANAA8AEwAVABdAPwCCQAADAMFuAMRAIADCQAADAMFvAMRAIQDCgQBLAwBLhQCa3KIAwkAAAwDBcADEQCMAwkAAAwDBcQDEQCQAwoEASwMAS4UAmtylAMJAAAMAwXIAxEAmAMJAAAMAwXMAxEAnAMKBAEsDAEuFAJrcqADCQAADAMF0AMRAKQDCQAADAMF1AMRAKgDCgQBLAwBLhQCa3KsAwkAAAwDBdgDEQCwAwkAAAwDBdwDEQC0AwoEASwMAS4UAmtyuAMFAQHhA3m8AwgBAukDe+EDecADBQEB8QN5xAMIAQL1A3vxA3nIAwUBAfkDecwDCAEC/QN7+QN50AMFAQGBBHnUAwgBAoUEe4EEedgDBQEBiQR53AMIAQKNBHuJBHnmA0BBbHR1YS5EYXRhLk51bWJlckZvcm1hdHRpbmcuTnVtYmVyRm9ybWF0VmFsdWVTZWdtZW50LCBBbHR1YS5EYXRh4QN5BQQDBZAE7gM/QWx0dWEuRGF0YS5OdW1iZXJGb3JtYXR0aW5nLk51bWJlckZvcm1hdFRleHRTZWdtZW50LCBBbHR1YS5EYXRh6QN7BQQBLQkB8QN5BQQDBZQE9QN7BQQBLQkB+QN5BQQDBZgE/QN7BQQBLQkBgQR5BQQDBZwEhQR7BQQBLQkBiQR5BQQDBaAEjQR7BQQBLQkBkAQGAQGlBIoBlAQGAQGlBIoBmAQGAQGlBIoBnAQGAQGtBIoBoAQGAQGlBIoBqgQ5QWx0dWEuRGF0YS5OdW1iZXJGb3JtYXR0aW5nLk51bWJlclBsYWNlaG9sZGVyLCBBbHR1YS5EYXRhpQSKAQUCMAAAAK0EigEFAjAAAAA="/>
  <p:tag name="GRUNT-RENDERHASH" val="44f36e10686cdd2174c3ec8a06e8cf56-svg"/>
  <p:tag name="GRUNT-X-SHAPEBOUNDS" val="ASIBBAAAAEDsNE9AAAAAwMyMcUAAAABgJVt5QAAAAOATqWFAAA=="/>
  <p:tag name="GRUNT-X-PAGEOBJECT" val="AQUC7S0KOEFsdHVhLk9hay5Db3JlLkRvY3VtZW50TW9kZWwuQ2hhcnRPYmplY3QsIEFsdHVhLk9hay5Db3JlBQI1BBIEEFo2/vpMTDJEttVVhPzkc08MEgQQ7bLhH5NUAUmbFh7KQojFYxUNBCUUNRg9HFUgZSQSUEFsdHVhLk9hay5Db3JlLkRvY3VtZW50TW9kZWwuVGVtcGxhdGluZy5DdXN0b21Qb3NpdGlvbkRlZmluaXRpb24sIEFsdHVhLk9hay5Db3JlDQQkBCIBBJDyvDTsVE9ANDMzMzOTckAucDVYJVN5QIhPLAxbBVdAFBMVKB0sNTA4AEU1DlU8XUBkAgVEGAQEAgVIHAIFTCALBVAMBW5iLU5PFVQkEAEBCQERARkBIQEpATEBOQAoFgQSBBAAAAAAAAAAAAAAAAAAAAAACAEsFgQSBBAAAAAAAAAAAAAAAAAAAAAACAEwADpHQWx0dWEuT2FrLkNvcmUuQ2hhcnQuQ2x1c3RlcmVkQmFyV2l0aExpbmVQbG90RGVmaW5pdGlvbiwgQWx0dWEuT2FrLkNvcmU1DjUEEgQQR0NDD/cWEkSVLnpZwA8cE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B2PsrfboKkRJhRYfCKfBVWFYQCHBIEEBF5bi6YHOlPpT4SGa3b+1UkAC2IAjWNAkSMAUgEEgQQOa6hS2PnK1Gv94eZJj3pqAwSBBB2PsrfboKkRJhRYfCKfBVWFZQCHBIEEOjcGhWyCfxHkHpCy/xxYFskAC2YAjWNAkSQAUIBABgDJZwCKQAxAEAASAJVoAJdpAJkEgQQdj7K326CpESYUWHwinwVVm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KE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5f17116771114e969f0e26596985f64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0hIKN0FsdHVhLkRhdGEuRGF0YVNlcnZpY2VzLkVtYmVkZGVkRGF0YVNlcnZpY2UsIEFsdHVhLkRhdGEFAhkEEgQQs0mVYULc1kKfkFPIiBIgqg0MJREFDAYFGAgUEAoWQUFsdHVhLkRhdGEuRGF0YVNlcnZpY2VzLkVtYmVkZGVkRGF0YVNlcnZpY2VFZGl0b3JEYXRhLCBBbHR1YS5EYXRhEQUEBRwNIBgGBSQNKBUsHFodBBIEENNz8cQb9wFOoDLwDWItJDkLAAAAAAAAHEAdBBIEEB/rjDimIctLiTIXQgTfWDQLAAAAAAAgYkAdBBIEEOJnguqdwBVPt55grnTxaoYLAAAAAACAREAglgEdBBIEEAW3udO3DvRJkWQYTUZuRawLAAAAAAAAMkAdBBIEEBF5bi6YHOlPpT4SGa3b+1ULAAAAAAAAMkAdBBIEEIQfkeIbhTVBsLhWaz1JSQ8LAAAAAAAAMkAdBBIEEPksWf79329Fuf5n0yPSqyMLAAAAAAAAMkAdBBIEEKTBruNnE2hCqBmPMX5a7skLAAAAAAAAMkAkBDA0ODwoAkBELOgCLAQoBBIEENqNKxB7T5pMmUYr804v+BwMEgQQX5eQl8Rau0KbEDAGcU7FWQ1ILAQoBBIEEHWemJFcQytHgI2gyx3vlOMMEgQQX5eQl8Rau0KbEDAGcU7FWQ1MLAQoBBIEEB/rjDimIctLiTIXQgTfWDQMEgQQ6NwaFbIJ/EeQekLL/HFgWw1QLAQoBBIEEB/rjDimIctLiTIXQgTfWDQMEgQQX5eQl8Rau0KbEDAGcU7FWQ1ULAQoBBIEEPcNbqcYN7JIm877E5VeB3UMEgQQX5eQl8Rau0KbEDAGcU7FWQ1YLAQoBBIEEPcNbqcYN7JIm877E5VeB3UMEgQQ6NwaFbIJ/EeQekLL/HFgWw1cLAQoBBIEENqNKxB7T5pMmUYr804v+BwMEgQQ6NwaFbIJ/EeQekLL/HFgWw1gLAQoBBIEEHWemJFcQytHgI2gyx3vlOMMEgQQ6NwaFbIJ/EeQekLL/HFgWw1kMBoEEgQQ2o0rEHtPmkyZRivzTi/4HAwCQzEZATQaBBIEEB/rjDimIctLiTIXQgTfWDQMAkMyGQE4GgQSBBB1npiRXEMrR4CNoMsd75TjDAJDMxkBPBsEEgQQ9w1upxg3skibzvsTlV4HdQwDQzE4GQFAGgQSBBBfl5CXxFq7QpsQMAZxTsVZDAJSMRkBRBoEEgQQ6NwaFbIJ/EeQekLL/HFgWwwCUjIZAUgEDWgVbEwEDWgVcFAEDWgVdFQEDWgVeFgFDXwVgAFcBQ18FYQBYAUNaBWIAWQFDWgVjAFoAgQAbAUEAwWQAXAFBAMFlAF0BQQDBZgBeAUEAwWcAXwCBACAAQUEAwWgAYQBBQQDBaQBiAEFBAMFqAGMAQUEAwWsAZABAgEAlAEFAQGxAS2YAQUBAbkBLZwBBQEBvQEtoAEFAQHBAS2kAQUBAcUBLagBBQEByQEtrAEFAQHNAS22AS9BbHR1YS5EYXRhLkluZnJhc3RydWN0dXJlLlBhcmFncmFwaCwgQWx0dWEuRGF0YbEBLQUMAwXQAbkBLQUMAwXUAb0BLQUMAwXYAcEBLQUMAwXcAcUBLQUMAwXgAckBLQUMAwXkAc0BLQUMAwXoAdABBQEB7QE81AEFAQH1AT7YAQUBAf0BPNwBBQEBgQI84AEFAQGFAj7kAQUBAYkCPugBBQEBjQI+8gEtQWx0dWEuRGF0YS5JbmZyYXN0cnVjdHVyZS5UZXh0UnVuLCBBbHR1YS5EYXRh7QE8EgQNNS4wMDDigJM5Ljk5OQ2QAvoBL0FsdHVhLkRhdGEuSW5mcmFzdHJ1Y3R1cmUuTnVtYmVyUnVuLCBBbHR1YS5EYXRh9QE+EgQNAwAAAAAAgExAHZUCRg2cAv0BPBAEC1VuZGVyIDUuMDAwDaACgQI8FwQSMTAuMDAwIGVsbGVyIGZsZXJlDaQChQI+EgQNAwAAAAAAAEJAHakCRg2sAokCPhIEDQMAAAAAAKCfQB2xAkYNtAKNAj4SBA0DAAAAAAAAQ0AduQJGDbwCkAISBAAcACQALAA0ADwATABUAF0AmgI9QWx0dWEuRGF0YS5OdW1iZXJGb3JtYXR0aW5nLkNvbXBvc2l0ZU51bWJlckZvcm1hdCwgQWx0dWEuRGF0YZUCRgsdwAIlxAI1yAI9AJwCEgQAHAAkACwANAA8AEwAVABdAKACEgQAHAAkACwANAA8AEwAVABdAKQCEgQAHAAkACwANAA8AEwAVABdAKkCRgsdzAIl0AI11AI9AKwCEgQAHAAkACwANAA8AEwAVABdALECRgsd2AIl3AI14AI9ALQCEgQAHAAkACwANAA8AEwAVABdALkCRgsd5AIl6AI17AI9ALwCEgQAHAAkACwANAA8AEwAVABdAMACCQAADAMF8AIRAMQCCQAADAMF9AIRAMgCCgQBLAwBLhQCa3LMAgkAAAwDBfgCEQDQAgkAAAwDBfwCEQDUAgoEASwMAS4UAmty2AIJAAAMAwWAAxEA3AIJAAAMAwWEAxEA4AIKBAEsDAEuFAJrcuQCCQAADAMFiAMRAOgCCQAADAMFjAMRAOwCCgQBLAwBLhQCa3LwAgUBAZEDZfQCCAECmQNnkQNl+AIFAQGhA2X8AggBAqUDZ6EDZYADBQEBqQNlhAMIAQKtA2epA2WIAwUBAbEDZYwDCAECtQNnsQNllgNAQWx0dWEuRGF0YS5OdW1iZXJGb3JtYXR0aW5nLk51bWJlckZvcm1hdFZhbHVlU2VnbWVudCwgQWx0dWEuRGF0YZEDZQUEAwW4A54DP0FsdHVhLkRhdGEuTnVtYmVyRm9ybWF0dGluZy5OdW1iZXJGb3JtYXRUZXh0U2VnbWVudCwgQWx0dWEuRGF0YZkDZwUEAS0JAaEDZQUEAwW8A6UDZwUEAS0JAakDZQUEAwXAA60DZwUEAS0JAbEDZQUEAwXEA7UDZwUEAS0JAbgDBQEByQNzvAMFAQHRA3PAAwUBAdUDc8QDBQEByQNzzgM5QWx0dWEuRGF0YS5OdW1iZXJGb3JtYXR0aW5nLk51bWJlclBsYWNlaG9sZGVyLCBBbHR1YS5EYXRhyQNzBQIwAAAA0QNzBQIwAAAA1QNzBQIwAAAA"/>
  <p:tag name="GRUNT-RENDERHASH" val="5dc2acdd6dd2f0197fe6b919ffd36adf-svg"/>
  <p:tag name="GRUNT-X-SHAPEBOUNDS" val="ASIBBAAAAGCOVIJAAAAAwMyMcEAAAAAAC5ByQAAAACBH3GFAAA=="/>
  <p:tag name="GRUNT-X-PAGEOBJECT" val="AQUC7S0KOEFsdHVhLk9hay5Db3JlLkRvY3VtZW50TW9kZWwuQ2hhcnRPYmplY3QsIEFsdHVhLk9hay5Db3JlBQI1BBIEEMY7HtPftqpIpV2cjOdz57UMEgQQs0mVYULc1kKfkFPIiBIgqhUNBCUUNRg9HFUgZSQSUEFsdHVhLk9hay5Db3JlLkRvY3VtZW50TW9kZWwuVGVtcGxhdGluZy5DdXN0b21Qb3NpdGlvbkRlZmluaXRpb24sIEFsdHVhLk9hay5Db3JlDQQkBCIBBPlIC2KOVoJANDMzMzOTcUAObukLC4hyQIhPLAxbBVtAFBMVKB0sNTA4AEU1DlU8XUBkAgVEGAQEAgVIHAIFTCALBVAMBW5iLU5PFVQkEAEBCQERARkBIQEpATEBOQAoFgQSBBAAAAAAAAAAAAAAAAAAAAAACAEsFgQSBBAAAAAAAAAAAAAAAAAAAAAACAEwADpHQWx0dWEuT2FrLkNvcmUuQ2hhcnQuQ2x1c3RlcmVkQmFyV2l0aExpbmVQbG90RGVmaW5pdGlvbiwgQWx0dWEuT2FrLkNvcmU1DjUEEgQQS2uKCZ3cS0WGECs0mNzX2B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ClO/ldEO4rR7CvsgezqWIhFYQCHBIEEBF5bi6YHOlPpT4SGa3b+1UkAC2IAjWNAkSMAUgEEgQQOa6hS2PnK1Gv94eZJj3pqAwSBBClO/ldEO4rR7CvsgezqWIhFZQCHBIEEOjcGhWyCfxHkHpCy/xxYFskAC2YAjWNAkSQAUIBABgDJZwCKQAxAEAASAJVoAJdpAJkEgQQpTv5XRDuK0ewr7IHs6liIW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KE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8ec12b623bb54718a05ad37e489e0e8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X-SHAPEBOUNDS" val="ASIBBAAAAIAGHUlAAAAAAGrGe0AAAABAmaZaQAAAAODCVzRAAA=="/>
  <p:tag name="GRUNT-RENDERHASH" val="ff8301d62f3637bc1b36c72b2c8b12d3-svg"/>
  <p:tag name="GRUNT-X-PAGEOBJECT" val="AQUCswIKPkFsdHVhLk9hay5Db3JlLkRvY3VtZW50TW9kZWwuQ2hhcnRMZWdlbmRPYmplY3QsIEFsdHVhLk9hay5Db3JlBQI5BBIEEMHWt7lWNPVDuEREnfX9CbEUEgQQR0NDD/cWEkSVLnpZwA8cEy0MNRBEAgUUSABVGQdlIG0kDAQEAgUoEAIFLBQCAQAeUEFsdHVhLk9hay5Db3JlLkRvY3VtZW50TW9kZWwuVGVtcGxhdGluZy5DdXN0b21Qb3NpdGlvbkRlZmluaXRpb24sIEFsdHVhLk9hay5Db3JlGQckBCIBBBgKQoEGHUlAxq1k+mnGe0AoEkw0maZaQKCVT+vCVzRAIAsFMAwFbmItTk8VNCQEAQEJASgCAQAsADAKBAEsDAEgFAJrcjQJBAVuYi1OTwgB"/>
  <p:tag name="GRUNT-SYNC" val="e032a3af2d0f480a83517a853a5b784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X-SHAPEBOUNDS" val="ASIBBAAAAGCOVoJAAAAAAGrGe0AAAABgfMVcQAAAAODCVzRAAA=="/>
  <p:tag name="GRUNT-RENDERHASH" val="5d5043ac0f63ddf9beae5aaa9a884815-svg"/>
  <p:tag name="GRUNT-X-PAGEOBJECT" val="AQUCswIKPkFsdHVhLk9hay5Db3JlLkRvY3VtZW50TW9kZWwuQ2hhcnRMZWdlbmRPYmplY3QsIEFsdHVhLk9hay5Db3JlBQI5BBIEEIzar7I1PJpCm4UrjdUDVLkUEgQQS2uKCZ3cS0WGECs0mNzX2C0MNRBEAgUUSABVGQdlIG0kDAQEAgUoEAIFLBQCAQAeUEFsdHVhLk9hay5Db3JlLkRvY3VtZW50TW9kZWwuVGVtcGxhdGluZy5DdXN0b21Qb3NpdGlvbkRlZmluaXRpb24sIEFsdHVhLk9hay5Db3JlGQckBCIBBPlIC2KOVoJAxq1k+mnGe0DgZ5BlfMVcQKCVT+vCVzRAIAsFMAwFbmItTk8VNCQEAQEJASgCAQAsADAKBAEsDAEgFAJrcjQJBAVuYi1OTwgB"/>
  <p:tag name="GRUNT-SYNC" val="44785b1cf4bb4fcf9cb0aef6517bacd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0a4c10ed-de53-40f8-8825-398a3fc3db6b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7ed4c832-f703-4fc1-9930-6102adf286c7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7REKN0FsdHVhLkRhdGEuRGF0YVNlcnZpY2VzLkVtYmVkZGVkRGF0YVNlcnZpY2UsIEFsdHVhLkRhdGEFAhkEEgQQCPbIaKpo3Ue1VbDoNncQXA0MJREFDAYFGAgUEAcWQUFsdHVhLkRhdGEuRGF0YVNlcnZpY2VzLkVtYmVkZGVkRGF0YVNlcnZpY2VFZGl0b3JEYXRhLCBBbHR1YS5EYXRhEQUEBRwNIBgGBSQNKBUsHB4dBBIEEB/rjDimIctLiTIXQgTfWDQLAAAAAAAgYkAgHh0EEgQQhB+R4huFNUGwuFZrPUlJDwsAAAAAAAAyQCQEMDQ4PCgCQEQs6AIsBCgEEgQQ2o0rEHtPmkyZRivzTi/4HAwSBBBfl5CXxFq7QpsQMAZxTsVZDUgsBCgEEgQQH+uMOKYhy0uJMhdCBN9YNAwSBBBfl5CXxFq7QpsQMAZxTsVZDUwsBCgEEgQQlJCa45USdUiMfWXS4u7tNQwSBBD5LFn+/d9vRbn+Z9Mj0qsjDVAsBCgEEgQQ2o0rEHtPmkyZRivzTi/4HAwSBBD5LFn+/d9vRbn+Z9Mj0qsjDVQsBCgEEgQQ6DZfv7FkHkOMacLBZsR3wgwSBBD5LFn+/d9vRbn+Z9Mj0qsjDVgsBCgEEgQQlJCa45USdUiMfWXS4u7tNQwSBBBfl5CXxFq7QpsQMAZxTsVZDVwsBCgEEgQQH+uMOKYhy0uJMhdCBN9YNAwSBBD5LFn+/d9vRbn+Z9Mj0qsjDWAsBCgEEgQQ6DZfv7FkHkOMacLBZsR3wgwSBBBfl5CXxFq7QpsQMAZxTsVZDWQwGgQSBBDajSsQe0+aTJlGK/NOL/gcDAJDMRkBNBoEEgQQH+uMOKYhy0uJMhdCBN9YNAwCQzIZATgbBBIEEJSQmuOVEnVIjH1l0uLu7TUMA0MxOBkBPBsEEgQQ6DZfv7FkHkOMacLBZsR3wgwDQzE5GQFAGgQSBBBfl5CXxFq7QpsQMAZxTsVZDAJSMRkBRBoEEgQQ+SxZ/v3fb0W5/mfTI9KrIwwCUjMZAUgEDWgVbEwEDWgVcFAEDXQVeFQEDWgVfFgFDXQVgAFcBQ10FYQBYAUNaBWIAWQFDXQVjAFoAgQAbAUEAwWQAXAFBAMFlAF0AgQAeAUEAwWYAXwFBAMFnAGAAQUEAwWgAYQBBQQDBaQBiAEFBAMFqAGMAQUEAwWsAZABAgEAlAEFAQGxAS2YAQUBAbkBLZwBAgEAoAEFAQG9AS2kAQUBAcEBLagBBQEBxQEtrAEFAQHJAS22AS9BbHR1YS5EYXRhLkluZnJhc3RydWN0dXJlLlBhcmFncmFwaCwgQWx0dWEuRGF0YbEBLQUMAwXMAbkBLQUMAwXQAb0BLQUMAwXUAcEBLQUMAwXYAcUBLQUMAwXcAckBLQUMAwXgAcwBBQEB5QE60AEFAQHtATrUAQUBAfEBOtgBBQEB9QE63AEFAQH5ATrgAQUBAf0BOuoBL0FsdHVhLkRhdGEuSW5mcmFzdHJ1Y3R1cmUuTnVtYmVyUnVuLCBBbHR1YS5EYXRh5QE6EgQNAwAAAAAAlJ9AHYECQQ2IAu0BOhIEDQMAAAAAAIBCQB2NAkENkALxAToSBA0DAAAAAAAASEAdlQJBDZgC9QE6EgQNAwAAAAAAnJ9AHZ0CQQ2gAvkBOhIEDQMAAAAAAIBHQB2lAkENqAL9AToSBA0DAAAAAACgn0AdrQJBDbAChgI9QWx0dWEuRGF0YS5OdW1iZXJGb3JtYXR0aW5nLkNvbXBvc2l0ZU51bWJlckZvcm1hdCwgQWx0dWEuRGF0YYECQQsdtAIluAI1vAI9AIgCEgQAHAAkACwANAA8AEwAVABdAI0CQQsdwAIlxAI1yAI9AJACEgQAHAAkACwANAA8AEwAVABdAJUCQQsdzAIl0AI11AI9AJgCEgQAHAAkACwANAA8AEwAVABdAJ0CQQsd2AIl3AI14AI9AKACEgQAHAAkACwANAA8AEwAVABdAKUCQQsd5AIl6AI17AI9AKgCEgQAHAAkACwANAA8AEwAVABdAK0CQQsd8AIl9AI1+AI9ALACEgQAHAAkACwANAA8AEwAVABdALQCCQAADAMF/AIRALgCCQAADAMFgAMRALwCCgQBLAwBLhQCa3LAAgkAAAwDBYQDEQDEAgkAAAwDBYgDEQDIAgoEASwMAS4UAmtyzAIJAAAMAwWMAxEA0AIJAAAMAwWQAxEA1AIKBAEsDAEuFAJrctgCCQAADAMFlAMRANwCCQAADAMFmAMRAOACCgQBLAwBLhQCa3LkAgkAAAwDBZwDEQDoAgkAAAwDBaADEQDsAgoEASwMAS4UAmty8AIJAAAMAwWkAxEA9AIJAAAMAwWoAxEA+AIKBAEsDAEuFAJrcvwCBQEBrQNsgAMIAQK1A26tA2yEAwUBAb0DbIgDCAECwQNuvQNsjAMFAQHFA2yQAwgBAskDbsUDbJQDBQEBzQNsmAMIAQLRA27NA2ycAwUBAdUDbKADCAEC2QNu1QNspAMFAQHdA2yoAwgBAuEDbt0DbLIDQEFsdHVhLkRhdGEuTnVtYmVyRm9ybWF0dGluZy5OdW1iZXJGb3JtYXRWYWx1ZVNlZ21lbnQsIEFsdHVhLkRhdGGtA2wFBAMF5AO6Az9BbHR1YS5EYXRhLk51bWJlckZvcm1hdHRpbmcuTnVtYmVyRm9ybWF0VGV4dFNlZ21lbnQsIEFsdHVhLkRhdGG1A24FBAEtCQG9A2wFBAMF6APBA24FBAEtCQHFA2wFBAMF7APJA24FBAEtCQHNA2wFBAMF8APRA24FBAEtCQHVA2wFBAMF9APZA24FBAEtCQHdA2wFBAMF+APhA24FBAEtCQHkAwYBAf0DgAHoAwYBAYUEgAHsAwYBAYUEgAHwAwYBAf0DgAH0AwYBAYUEgAH4AwYBAf0DgAGCBDlBbHR1YS5EYXRhLk51bWJlckZvcm1hdHRpbmcuTnVtYmVyUGxhY2Vob2xkZXIsIEFsdHVhLkRhdGH9A4ABBQIwAAAAhQSAAQUCMAAAAA=="/>
  <p:tag name="GRUNT-X-SHAPEBOUNDS" val="ASIBBAAAAKDs5lNAAAAA4IfFZUAAAABgC051QAAAAMAMw1lAAA=="/>
  <p:tag name="GRUNT-RENDERHASH" val="bb38e472f07b04a949b5062ebe3b5c0c-svg"/>
  <p:tag name="GRUNT-X-PAGEOBJECT" val="AQUC6DUKOEFsdHVhLk9hay5Db3JlLkRvY3VtZW50TW9kZWwuQ2hhcnRPYmplY3QsIEFsdHVhLk9hay5Db3JlBQI1BBIEEN8qHnnJKvdPmepgPvbyhTwMEgQQCPbIaKpo3Ue1VbDoNncQXBUNBCUUNRg9HFUgZSQSUEFsdHVhLk9hay5Db3JlLkRvY3VtZW50TW9kZWwuVGVtcGxhdGluZy5DdXN0b21Qb3NpdGlvbkRlZmluaXRpb24sIEFsdHVhLk9hay5Db3JlDQQkBCIBBJCaGars9lNAGwQfp6p1Z0CPzKxkC0Z1QOJIebYtyVFAFBMVKB0sNTA4AEU1DlU8XUBkAgVEGAQEAgVIHAIFTCALBVAMBW5iLU5PFVQkEAEBCQERARkBIQEpATEBOQAoFgQSBBAAAAAAAAAAAAAAAAAAAAAACAEsFgQSBBAAAAAAAAAAAAAAAAAAAAAACAEwADpFQWx0dWEuT2FrLkNvcmUuQ2hhcnQuU3RhY2tlZEJhcldpdGhMaW5lUGxvdERlZmluaXRpb24sIEFsdHVhLk9hay5Db3JlNQ4yBBIEECSH+22s+U1FqhpCg5gfeH0cAgVYJVw1YDwCBWRJAW1opQFtHKkBALUBdR69AXw8BQWAAQ0AQAQBAAkARAgBA4QBiAGMAUgCAQBMAFAKBAEsDAEgFAJrclQJBAVuYi1OTwgBWAQBAZABXA0AAAgBFAMFlAEcACUAYCYEIgEEAAAAAAAAEEAAAAAAAAAQQAAAAAAAABBAAAAAAAAAEEAIBGQCAQBoCwMAAAAAAABMQAggckVBbHR1YS5PYWsuQ29yZS5QbG90dGluZy5BdXRvbWF0aWNDYXRlZ29yeUF4aXNTZXR0aW5ncywgQWx0dWEuT2FrLkNvcmVtHBMBAQ2YARAAGQEwAD2cAUWgAUgBej1BbHR1YS5PYWsuQ29yZS5UaGVtaW5nLlBhZ2VDb2xvclNjaGVtZVBvaW50ZXIsIEFsdHVhLk9hay5Db3JldR4AfEo1pAE9qAFFrAFVsAFdtAF1uAGNAbwBnQHAAaUBxAGtAcgBzQHMAdUB0AHdAdQB5QHYAe0B3AH1AeAB/QHkAYUC6AGNAuwBlQLwAYABBvQB+AH8AYQBSQQSBBDeEv+gt+OZUY2Brka6081VDBIEEAr9EwuXaqxEoXfvMufK8aEVgAIcEgQQ+SxZ/v3fb0W5/mfTI9KrIyQBAS2EAjWJAkOIAUkEEgQQMJ2TYTolGkK3RQAIzlWRyAwSBBAK/RMLl2qsRKF37zLnyvGhFZACHBIEEDcGo+sqLPlEoN7fVizMk+kkAQEtlAI1iQJDjAFJBBIEEAA+VhGeTC9NpQC+OgLm/vAMEgQQCv0TC5dqrEShd+8y58rxoRWYAhwSBBABss15pFQpS4Kl2rxBTR+iJAEBLZwCNYkCQ5ABQgEBGAMloAIpADEAQABIAlWkAl2oAmQSBBAK/RMLl2qsRKF37zLnyvGhbawCdbACjQG0ApEBAZ0BuAKlAbwCtQHAApQBAgEAmAECAQCcAQYFxQJSCASgAQYFzQJSCASkAQUEAwXQAqgBBQQDBdQCrAEFBAMF2AKwAQUEAwXcArQBBQQDBeACuAEFBAMF4AK8AQUEAwXkAsABBQQDBegCxAEFBAMF7ALIAQUEAwXwAswBBQQDBfQC0AEFBAMF+ALUAQUEAwX8AtgBBQQDBYAD3AEFBAMFhAPgAQUEAwWIA+QBBQQDBYwD6AEFBAMFkAPsAQUEAwWUA/ABBQQDBZgD9AErBBIEELZ5fHLQQfJQqnl1ubK6ZJsMEgQQH+uMOKYhy0uJMhdCBN9YNBwBAfgBKwQSBBACv/K8OHggSphndeIGMvgXDBIEEJSQmuOVEnVIjH1l0uLu7TUcAQH8ASsEEgQQEjRGWHB8Q0GamGaB9neQzQwSBBDoNl+/sWQeQ4xpwsFmxHfCHAEBgAIFBZwDCAGEAgQFAAgBjgI+QWx0dWEuT2FrLkNvcmUuQ2hhcnQuRGVmYXVsdFBsb3RTZXJpZXNTZXR0aW5ncywgQWx0dWEuT2FrLkNvcmWJAkMAkAIFBaADCAGUAgQFAAgBmAIFBaQDCAGcAgQFAAgBoAILAwAAAAAAAAAACAGkAgsDAAAAAAAAAAAIAagCCwMAAAAAAAAAAAgBrAIVBagDDawDFbADHbQDJbgDLbwDNcADsAIHDcQDFckDUrQCCwMAAAAAAAAAAAgEuAIGBc0DUggEvAIGBc0DUggEwAIFBAMF0APKAjNBbHR1YS5PYWsuQ29yZS5UaGVtaW5nLkNvbG9yUG9pbnRlciwgQWx0dWEuT2FrLkNvcmXFAlJQUFD/zQJSUFBQ/9ACBAEB1APUAg4BBtgD3APgA+QD6APsA9gCBAEB8APcAgIBAOACAgEA5AICAQDoAgIBAOwCFgEK9AP4A/wDgASEBIgEjASQBJQEmATwAgIBAPQCDgEGnASgBKQEqASsBLAE+AIUAQm0BLgEvATABMQEyATMBNAE1AT8AgIBAIADBAEB2ASEAwoBBNwE4ATkBOgEiAMCAQCMAwIBAJADAgEAlAMCAQCYAwIBAJwDBQQDBewEoAMFBAMF8ASkAwUEAwX0BKgDBwQDBAEACASsAwUEAS4IBLADBAABCAS0AwQAAAgEuAMEBAAIBLwDBAQACATAAwQAAAgExAMFBAMF+ATJA1I+PuX/zQNSUFBQ/9ADAgEA1AMOBf0EoAELAAAAAAAA0D/YAw4FhQWiAQsAAAAAAAAAANwDDgWNBaQBCwAAAAAAAAAA4AMOBZUFpgELAAAAAAAA4D/kAw4FnQWoAQsAAAAAAADgP+gDDgWlBaoBCwAAAAAAAOA/7AMOBa0FrAELAAAAAAAA+D/wAwgFtQWqAQ24BfQDCgW9BbABDcUFsgH4AwoFzQWiAQ3RBbUB/AMKBdkFpgEN3QW1AYAECgXhBagBDeUFtQGEBAkF6QW7AQ3xBVKIBAoF9QW+AQ39BbUBjAQJBYEGwQENiQZSkAQKBY0GoAENkQa1AZQECgWNBqABDZUGtQGYBAoF/QSgAQ2ZBrUBnAQHBZ0GyAEJAKAEBwWlBsoBCQGkBAcFrQbMAQkBqAQHBbUGzgEJAawEBwW9BtABCQGwBAcFxQbSAQkBtAQKBc0G1AEN1QbWAbgECgXdBtgBDeUG2gG8BAoF7QbcAQ31Bt4BwAQKBf0G3AENgQfhAcQECgWJB8wBDYEH4QHIBAoFjQfIAQ2RB+UBzAQKBZkHzgENkQflAdAECgWdB9ABDaEH6QHUBAoFxQbSAQ2pB+sB2AQKBbEH7QENuQfvAdwECgXBB8gBDcUH8gHgBAoFzQfYAQ3RB/IB5AQKBdUHzgEN2QfyAegECgXdB9QBDeEH8gHsBAYBAeUH+gHwBAYBAe0H+gH0BAYBAfEH+gH4BAQBAgEEggVQQWx0dWEuT2FrLkNvcmUuTW9kaWZpY2F0aW9uLlN0eWxpbmcuQ29tcG9zaXRlQ3VzdG9taXphdGlvblRhcmdldCwgQWx0dWEuT2FrLkNvcmX9BKABBQQDBfQHigVTQWx0dWEuT2FrLkNvcmUuTW9kaWZpY2F0aW9uLlN0eWxpbmcuQWxsVmFsdWVBeGlzQ3VzdG9taXphdGlvblRhcmdldCwgQWx0dWEuT2FrLkNvcmWFBaIBAJIFWUFsdHVhLk9hay5Db3JlLk1vZGlmaWNhdGlvbi5TdHlsaW5nLlZhbHVlQXhpc0dyaWRsaW5lc0N1c3RvbWl6YXRpb25UYXJnZXQsIEFsdHVhLk9hay5Db3JljQWkAQCaBVNBbHR1YS5PYWsuQ29yZS5Nb2RpZmljYXRpb24uU3R5bGluZy5DYXRlZ29yeUF4aXNDdXN0b21pemF0aW9uVGFyZ2V0LCBBbHR1YS5PYWsuQ29yZZUFpgEAogVQQWx0dWEuT2FrLkNvcmUuTW9kaWZpY2F0aW9uLlN0eWxpbmcuT3JpZ29MaW5lQ3VzdG9taXphdGlvblRhcmdldCwgQWx0dWEuT2FrLkNvcmWdBagBAKoFXUFsdHVhLk9hay5Db3JlLk1vZGlmaWNhdGlvbi5TdHlsaW5nLkFsbENvbm5lY3RvcnNBdXhpbGlhcnlDdXN0b21pemF0aW9uVGFyZ2V0LCBBbHR1YS5PYWsuQ29yZaUFqgEAsgVZQWx0dWEuT2FrLkNvcmUuTW9kaWZpY2F0aW9uLlN0eWxpbmcuU2VyaWVzV2l0aFBsb3RLaW5kQ3VzdG9taXphdGlvblRhcmdldCwgQWx0dWEuT2FrLkNvcmWtBawBAwX4B7UFqgEAuAUFDAMF/AfCBVZBbHR1YS5PYWsuQ29yZS5Nb2RpZmljYXRpb24uU3R5bGluZy5BbGxTZXJpZXNNYXJrZXJDdXN0b21pemF0aW9uVGFyZ2V0LCBBbHR1YS5PYWsuQ29yZb0FsAEAygU6QWx0dWEuT2FrLkNvcmUuVGhlbWluZy5CaW5kaW5nQ29sb3JQb2ludGVyLCBBbHR1YS5PYWsuQ29yZcUFsgEFBYEIgQLNBaIBANYFN0FsdHVhLk9hay5Db3JlLlRoZW1pbmcuUGFnZUNvbG9yUG9pbnRlciwgQWx0dWEuT2FrLkNvcmXRBbUBBAAACADZBaYBAN0FtQEEAAAIAOEFqAEA5QW1AQQAAAgA7gVTQWx0dWEuT2FrLkNvcmUuTW9kaWZpY2F0aW9uLlN0eWxpbmcuQWxsR3JpZGxpbmVzQ3VzdG9taXphdGlvblRhcmdldCwgQWx0dWEuT2FrLkNvcmXpBbsBAPEFUoCAgP/6BU1BbHR1YS5PYWsuQ29yZS5Nb2RpZmljYXRpb24uU3R5bGluZy5TZXJpZXNDdXN0b21pemF0aW9uVGFyZ2V0LCBBbHR1YS5PYWsuQ29yZfUFvgEUBBIEEN4S/6C345lRjYGuRrrTzVX9BbUBBAAFCACGBlBBbHR1YS5PYWsuQ29yZS5Nb2RpZmljYXRpb24uU3R5bGluZy5EYXRhUG9pbnRDdXN0b21pemF0aW9uVGFyZ2V0LCBBbHR1YS5PYWsuQ29yZYEGwQEoBBIEEN4S/6C345lRjYGuRrrTzVUMEgQQAr/yvDh4IEqYZ3XiBjL4F4kGUv+hL/+NBqABBQQDBYgIkQa1AQQAAQgBlQa1AQQAAQgBmQa1AQQAAQgAogZYQWx0dWEuT2FrLkNvcmUuTW9kaWZpY2F0aW9uLlN0eWxpbmcuQWxsVmFsdWVBeGlzTGFiZWxDdXN0b21pemF0aW9uVGFyZ2V0LCBBbHR1YS5PYWsuQ29yZZ0GyAEAqgZmQWx0dWEuT2FrLkNvcmUuTW9kaWZpY2F0aW9uLlN0eWxpbmcuU3RhY2tlZEJhckF1dG9tYXRpY1NlZ21lbnRMYWJlbEN1c3RvbWl6YXRpb25UYXJnZXQsIEFsdHVhLk9hay5Db3JlpQbKAQCyBlVBbHR1YS5PYWsuQ29yZS5Nb2RpZmljYXRpb24uU3R5bGluZy5BbGxUb3RhbExhYmVsc0N1c3RvbWl6YXRpb25UYXJnZXQsIEFsdHVhLk9hay5Db3JlrQbMAQC6BldBbHR1YS5PYWsuQ29yZS5Nb2RpZmljYXRpb24uU3R5bGluZy5BbGxDYXRlZ29yeUxhYmVsQ3VzdG9taXphdGlvblRhcmdldCwgQWx0dWEuT2FrLkNvcmW1Bs4BAMIGWEFsdHVhLk9hay5Db3JlLk1vZGlmaWNhdGlvbi5TdHlsaW5nLkFsbEF1eGlsaWFyeUxhYmVsQ3VzdG9taXphdGlvblRhcmdldCwgQWx0dWEuT2FrLkNvcmW9BtABAMoGWEFsdHVhLk9hay5Db3JlLk1vZGlmaWNhdGlvbi5TdHlsaW5nLlNlcmllc0xhYmVsT2ZUeXBlQ3VzdG9taXphdGlvblRhcmdldCwgQWx0dWEuT2FrLkNvcmXFBtIBAgAC0gZYQWx0dWEuT2FrLkNvcmUuTW9kaWZpY2F0aW9uLlN0eWxpbmcuQ2F0ZWdvcnlBeGlzVGl0bGVDdXN0b21pemF0aW9uVGFyZ2V0LCBBbHR1YS5PYWsuQ29yZc0G1AEA2gZGQWx0dWEuT2FrLkNvcmUuUGxvdHRpbmcuQXhpc1RpdGxlTGFiZWxQbGFjZW1lbnRPdXRzaWRlLCBBbHR1YS5PYWsuQ29yZdUG1gECAAHiBl1BbHR1YS5PYWsuQ29yZS5Nb2RpZmljYXRpb24uU3R5bGluZy5BbGxWYWx1ZUF4aXNUaXRsZUxhYmVsQ3VzdG9taXphdGlvblRhcmdldCwgQWx0dWEuT2FrLkNvcmXdBtgBAOoGQkFsdHVhLk9hay5Db3JlLlBsb3R0aW5nLkF4aXNUaXRsZUxhYmVsUGxhY2VtZW50RmFyLCBBbHR1YS5PYWsuQ29yZeUG2gECAADyBl9BbHR1YS5PYWsuQ29yZS5Nb2RpZmljYXRpb24uU3R5bGluZy5TZXJpZXNMYWJlbHNXaXRoUGxvdEtpbmRDdXN0b21pemF0aW9uVGFyZ2V0LCBBbHR1YS5PYWsuQ29yZe0G3AEFBYwICAD6BjxBbHR1YS5PYWsuQ29yZS5QbG90dGluZy5MYWJlbFBsYWNlbWVudEluc2lkZSwgQWx0dWEuT2FrLkNvcmX1Bt4BBAABCAH9BtwBBQWQCAgAhgc9QWx0dWEuT2FrLkNvcmUuUGxvdHRpbmcuTGFiZWxQbGFjZW1lbnRPdXRzaWRlLCBBbHR1YS5PYWsuQ29yZYEH4QEAiQfMAQCNB8gBAJYHQUFsdHVhLk9hay5Db3JlLlBsb3R0aW5nLkF4aXNMYWJlbFBsYWNlbWVudE91dHNpZGUsIEFsdHVhLk9hay5Db3JlkQflAQIBAJkHzgEAnQfQAQCmB0ZBbHR1YS5PYWsuQ29yZS5QbG90dGluZy5BdXhpbGlhcnlMYWJlbFBsYWNlbWVudERlZmF1bHQsIEFsdHVhLk9hay5Db3JloQfpAQCuB0NBbHR1YS5PYWsuQ29yZS5QbG90dGluZy5MYWJlbFBsYWNlbWVudFNlcmllc091dHNpZGUsIEFsdHVhLk9hay5Db3JlqQfrAQIAALYHUEFsdHVhLk9hay5Db3JlLk1vZGlmaWNhdGlvbi5TdHlsaW5nLkFsbExhYmVsc0N1c3RvbWl6YXRpb25UYXJnZXQsIEFsdHVhLk9hay5Db3JlsQftAQC+B0JBbHR1YS5PYWsuQ29yZS5TeW50YXhTdHJ1Y3R1cmUuQWN0dWFsRm9udFNpemVWYWx1ZSwgQWx0dWEuT2FrLkNvcmW5B+8BCQMAAAAAAAAoQMEHyAEAygdDQWx0dWEuT2FrLkNvcmUuU3ludGF4U3RydWN0dXJlLkFjdHVhbEZvbnRDb2xvclZhbHVlLCBBbHR1YS5PYWsuQ29yZcUH8gEFBZUItQHNB9gBANEH8gEFBZkItQHVB84BANkH8gEFBZ0ItQHdB9QBAOEH8gEFBaEItQHqBy9BbHR1YS5EYXRhLkluZnJhc3RydWN0dXJlLlBhcmFncmFwaCwgQWx0dWEuRGF0YeUH+gEFDAMFpAjtB/oBBQwDBagI8Qf6AQUMAwWsCPQHCgECsQjBAbUIwQH4BwEF/AcKAQIAAIBAAABAQIYISEFsdHVhLk9hay5Db3JlLlN5bnRheFN0cnVjdHVyZS5QbG90U2VyaWVzQmluZGluZ1N0cmF0ZWd5LCBBbHR1YS5PYWsuQ29yZYEIgQIAiAgKAQK5CMEBvQjBAYwIAgABkAgBBZUItQEEAAAIAJkItQEEAAAIAJ0ItQEEAAAIAKEItQEEAAAIAKQIBgEBwQiRAqgIBgEByQiRAqwIBgEBzQiRArEIwQEoBBIEEN4S/6C345lRjYGuRrrTzVUMEgQQAr/yvDh4IEqYZ3XiBjL4F7UIwQEoBBIEEN4S/6C345lRjYGuRrrTzVUMEgQQtnl8ctBB8lCqeXW5srpkm7kIwQEoBBIEEN4S/6C345lRjYGuRrrTzVUMEgQQAr/yvDh4IEqYZ3XiBjL4F70IwQEoBBIEEN4S/6C345lRjYGuRrrTzVUMEgQQtnl8ctBB8lCqeXW5srpkm8YIL0FsdHVhLkRhdGEuSW5mcmFzdHJ1Y3R1cmUuTnVtYmVyUnVuLCBBbHR1YS5EYXRhwQiRAhMEDgMAAAAAAKCfQB3RCJUCDdgIyQiRAhMEDgMAAAAAAJyfQB3dCJUCDeAIzQiRAhMEDgMAAAAAAJSfQB3lCJUCDegI1gg9QWx0dWEuRGF0YS5OdW1iZXJGb3JtYXR0aW5nLkNvbXBvc2l0ZU51bWJlckZvcm1hdCwgQWx0dWEuRGF0YdEIlQILHewIJfAINfQIPQDYCBIEABwAJAAsADQAPABMAFQAXQDdCJUCCx34CCX8CDWACT0A4AgSBAAcACQALAA0ADwATABUAF0A5QiVAgsdhAkliAk1jAk9AOgIEgQAHAAkACwANAA8AEwAVABdAOwICQAADAMFkAkRAPAICQAADAMFlAkRAPQICgQBLAwBLhQCa3L4CAkAAAwDBZgJEQD8CAkAAAwDBZwJEQCACQoEASwMAS4UAmtyhAkJAAAMAwWgCREAiAkJAAAMAwWkCREAjAkKBAEsDAEuFAJrcpAJBgEBqQmrApQJCgECsQmtAqkJqwKYCQYBAbkJqwKcCQoBAr0JrQK5CasCoAkGAQHBCasCpAkKAQLFCa0CwQmrAq4JQEFsdHVhLkRhdGEuTnVtYmVyRm9ybWF0dGluZy5OdW1iZXJGb3JtYXRWYWx1ZVNlZ21lbnQsIEFsdHVhLkRhdGGpCasCBQQDBcgJtgk/QWx0dWEuRGF0YS5OdW1iZXJGb3JtYXR0aW5nLk51bWJlckZvcm1hdFRleHRTZWdtZW50LCBBbHR1YS5EYXRhsQmtAgUEAS0JAbkJqwIFBAMFzAm9Ca0CBQQBLQkBwQmrAgUEAwXQCcUJrQIFBAEtCQHICQYBAdUJtgLMCQYBAd0JtgLQCQYBAeEJtgLaCTlBbHR1YS5EYXRhLk51bWJlckZvcm1hdHRpbmcuTnVtYmVyUGxhY2Vob2xkZXIsIEFsdHVhLkRhdGHVCbYCBQIwAAAA3Qm2AgUCMAAAAOEJtgIFAjAAAAA="/>
  <p:tag name="GRUNT-SYNC" val="7c9902ed74bb46e3b19269965e6a5e38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9xIKN0FsdHVhLkRhdGEuRGF0YVNlcnZpY2VzLkVtYmVkZGVkRGF0YVNlcnZpY2UsIEFsdHVhLkRhdGEFAhkEEgQQCpbnRz/RSkW1cGmcuVMyqg0MJREFDAYFGAgVEAcWQUFsdHVhLkRhdGEuRGF0YVNlcnZpY2VzLkVtYmVkZGVkRGF0YVNlcnZpY2VFZGl0b3JEYXRhLCBBbHR1YS5EYXRhEQUEBRwNIBgGBSQNKBUsHB4dBBIEEB/rjDimIctLiTIXQgTfWDQLAAAAAAAgYkAgHh0EEgQQhB+R4huFNUGwuFZrPUlJDwsAAAAAAAAyQCQFMDQ4PEAoAkRILMIDLAQoBBIEENqNKxB7T5pMmUYr804v+BwMEgQQX5eQl8Rau0KbEDAGcU7FWQ1MLAQoBBIEEB/rjDimIctLiTIXQgTfWDQMEgQQX5eQl8Rau0KbEDAGcU7FWQ1QLAQoBBIEEJSQmuOVEnVIjH1l0uLu7TUMEgQQ+SxZ/v3fb0W5/mfTI9KrIw1ULAQoBBIEENqNKxB7T5pMmUYr804v+BwMEgQQ+SxZ/v3fb0W5/mfTI9KrIw1YLAQoBBIEEOg2X7+xZB5DjGnCwWbEd8IMEgQQ+SxZ/v3fb0W5/mfTI9KrIw1cLAQoBBIEEJSQmuOVEnVIjH1l0uLu7TUMEgQQX5eQl8Rau0KbEDAGcU7FWQ1gLAQoBBIEEHd1nELbtjtFhKnPCji3MhIMEgQQX5eQl8Rau0KbEDAGcU7FWQ1kLAQoBBIEEHd1nELbtjtFhKnPCji3MhIMEgQQ+SxZ/v3fb0W5/mfTI9KrIw1oLAQoBBIEEB/rjDimIctLiTIXQgTfWDQMEgQQ+SxZ/v3fb0W5/mfTI9KrIw1sLAQoBBIEEOg2X7+xZB5DjGnCwWbEd8IMEgQQX5eQl8Rau0KbEDAGcU7FWQ1wMBoEEgQQ2o0rEHtPmkyZRivzTi/4HAwCQzEZATQaBBIEEB/rjDimIctLiTIXQgTfWDQMAkMyGQE4GwQSBBCUkJrjlRJ1SIx9ZdLi7u01DANDMTgZATwbBBIEEOg2X7+xZB5DjGnCwWbEd8IMA0MxORkBQBsEEgQQd3WcQtu2O0WEqc8KOLcyEgwDQzIwGQFEGgQSBBBfl5CXxFq7QpsQMAZxTsVZDAJSMRkBSBoEEgQQ+SxZ/v3fb0W5/mfTI9KrIwwCUjMZAUwEDXQVeFAEDXQVfFQGDYABFYQBWAUNdBWIAVwGDYABFYwBYAYNgAEVkAFkBg2UARWYAWgGDZQBFZwBbAUNdBWgAXAGDYABFaQBdAIEAHgFBAMFqAF8BQQDBawBgAECBACEAQUEAwWwAYgBBQQDBbQBjAEFBAMFuAGQAQUEAwW8AZQBAgQAmAEFBAMFwAGcAQUEAwXEAaABBQQDBcgBpAEFBAMFzAGoAQIBAKwBBQEB0QE1sAEFAQHZATW0AQIBALgBBQEB3QE1vAEFAQHhATXAAQUBAeUBNcQBBQEB6QE1yAEFAQHtATXMAQUBAfEBNdYBL0FsdHVhLkRhdGEuSW5mcmFzdHJ1Y3R1cmUuUGFyYWdyYXBoLCBBbHR1YS5EYXRh0QE1BQwDBfQB2QE1BQwDBfgB3QE1BQwDBfwB4QE1BQwDBYAC5QE1BQwDBYQC6QE1BQwDBYgC7QE1BQwDBYwC8QE1BQwDBZAC9AEFAQGVAkb4AQUBAZ0CSPwBBQEBpQJIgAIFAQGpAkaEAgUBAa0CRogCBQEBsQJIjAIFAQG1AkiQAgUBAbkCRpoCLUFsdHVhLkRhdGEuSW5mcmFzdHJ1Y3R1cmUuVGV4dFJ1biwgQWx0dWEuRGF0YZUCRhQED1Ryw7huZGVsYWcgTm9yZA28AqICL0FsdHVhLkRhdGEuSW5mcmFzdHJ1Y3R1cmUuTnVtYmVyUnVuLCBBbHR1YS5EYXRhnQJIEgQNAwAAAAAAAEhAHcECUQ3IAqUCSBIEDQMAAAAAAABFQB3NAlEN0AKpAkYUBA9UcsO4bmRlbGFnIFPDuHIN1AKtAkYKBAVOb3JnZQ3YArECSBIEDQMAAAAAAIBDQB3dAlEN4AK1AkgSBA0DAAAAAACAS0Ad5QJRDegCuQJGFQQQTcO4cmUgb2cgUm9tc2RhbA3sArwCEgQAHAAkACwANAA8AEwAVABdAMYCPUFsdHVhLkRhdGEuTnVtYmVyRm9ybWF0dGluZy5Db21wb3NpdGVOdW1iZXJGb3JtYXQsIEFsdHVhLkRhdGHBAlELHfACJfQCNfgCPQDIAhIEABwAJAAsADQAPABMAFQAXQDNAlELHfwCJYADNYQDPQDQAhIEABwAJAAsADQAPABMAFQAXQDUAhIEABwAJAAsADQAPABMAFQAXQDYAhIEABwAJAAsADQAPABMAFQAXQDdAlELHYgDJYwDNZADPQDgAhIEABwAJAAsADQAPABMAFQAXQDlAlELHZQDJZgDNZwDPQDoAhIEABwAJAAsADQAPABMAFQAXQDsAhIEABwAJAAsADQAPABMAFQAXQDwAgkAAAwDBaADEQD0AgkAAAwDBaQDEQD4AgoEASwMAS4UAmty/AIJAAAMAwWoAxEAgAMJAAAMAwWsAxEAhAMKBAEsDAEuFAJrcogDCQAADAMFsAMRAIwDCQAADAMFtAMRAJADCgQBLAwBLhQCa3KUAwkAAAwDBbgDEQCYAwkAAAwDBbwDEQCcAwoEASwMAS4UAmtyoAMFAQHBA3GkAwgBAskDc8EDcagDBQEB0QNxrAMIAQLVA3PRA3GwAwUBAdkDcbQDCAEC3QNz2QNxuAMFAQHhA3G8AwgBAuUDc+EDccYDQEFsdHVhLkRhdGEuTnVtYmVyRm9ybWF0dGluZy5OdW1iZXJGb3JtYXRWYWx1ZVNlZ21lbnQsIEFsdHVhLkRhdGHBA3EFBAMF6APOAz9BbHR1YS5EYXRhLk51bWJlckZvcm1hdHRpbmcuTnVtYmVyRm9ybWF0VGV4dFNlZ21lbnQsIEFsdHVhLkRhdGHJA3MFBAEtCQHRA3EFBAMF7APVA3MFBAEtCQHZA3EFBAMF8APdA3MFBAEtCQHhA3EFBAMF9APlA3MFBAEtCQHoAwUBAfkDf+wDBQEB+QN/8AMFAQH5A3/0AwUBAfkDf/4DOUFsdHVhLkRhdGEuTnVtYmVyRm9ybWF0dGluZy5OdW1iZXJQbGFjZWhvbGRlciwgQWx0dWEuRGF0YfkDfwUCMAAAAA=="/>
  <p:tag name="GRUNT-RENDERHASH" val="9a51f9c16229036c93177f27b624166b-svg"/>
  <p:tag name="GRUNT-X-SHAPEBOUNDS" val="ASIBBAAAAKCPF39AAAAA4Gi6YkAAAAAApWd6QAAAAEByuWFAAA=="/>
  <p:tag name="GRUNT-X-PAGEOBJECT" val="AQUC/TMKOEFsdHVhLk9hay5Db3JlLkRvY3VtZW50TW9kZWwuQ2hhcnRPYmplY3QsIEFsdHVhLk9hay5Db3JlBQI1BBIEEABb5PxWEs5LujBZBAmpDD4MEgQQCpbnRz/RSkW1cGmcuVMyqhUNBCUUNRg9HFUgZSQSUEFsdHVhLk9hay5Db3JlLkRvY3VtZW50TW9kZWwuVGVtcGxhdGluZy5DdXN0b21Qb3NpdGlvbkRlZmluaXRpb24sIEFsdHVhLk9hay5Db3JlDQQkBCIBBAnN7JSPG39AAAAAiNe5Y0AnZkb+pF96QBhRt/TTQFlAFBMVKB0sNTA4AEU1DlU8XUBkAgVEGAQEAgVIHAIFTCALBVAMBW5iLU5PFVQkEAEBCQERARkBIQEpATEBOQAoFgQSBBAAAAAAAAAAAAAAAAAAAAAACAEsFgQSBBAAAAAAAAAAAAAAAAAAAAAACAEwADpFQWx0dWEuT2FrLkNvcmUuQ2hhcnQuU3RhY2tlZEJhcldpdGhMaW5lUGxvdERlZmluaXRpb24sIEFsdHVhLk9hay5Db3JlNQ4yBBIEEPeL/Dgt5yVOkMryI8h69tAcAgVYJVw1YDwCBWRJAW1opQFtHKkBALUBdR69AXw8BQWAAQ0AQAQBAAkARAgBA4QBiAGMAUgCAQBMAFAKBAEsDAEgFAJrclQJBAVuYi1OTwgBWAQBAZABXA0AAAgBFAMFlAEcACUAYCYEIgEEAAAAAAAAEEAAAAAAAAAQQAAAAAAAABBAAAAAAAAAEEAIBGQCAQBoCwMAAAAAAABMQAggckVBbHR1YS5PYWsuQ29yZS5QbG90dGluZy5BdXRvbWF0aWNDYXRlZ29yeUF4aXNTZXR0aW5ncywgQWx0dWEuT2FrLkNvcmVtHBMBAQ2YARAAGQEwAD2cAUWgAUgBej1BbHR1YS5PYWsuQ29yZS5UaGVtaW5nLlBhZ2VDb2xvclNjaGVtZVBvaW50ZXIsIEFsdHVhLk9hay5Db3JldR4AfEo1pAE9qAFFrAFVsAFdtAF1uAGNAbwBnQHAAaUBxAGtAcgBzQHMAdUB0AHdAdQB5QHYAe0B3AH1AeAB/QHkAYUC6AGNAuwBlQLwAYABCPQB+AH8AYAChAFJBBIEEN4S/6C345lRjYGuRrrTzVUMEgQQnaQJR2VmbEq7t93//XdGDxWEAhwSBBD5LFn+/d9vRbn+Z9Mj0qsjJAEBLYgCNY0CRIgBSQQSBBAwnZNhOiUaQrdFAAjOVZHIDBIEEJ2kCUdlZmxKu7fd//13Rg8VlAIcEgQQNwaj6yos+USg3t9WLMyT6SQBAS2YAjWNAkSMAUkEEgQQAD5WEZ5ML02lAL46Aub+8AwSBBCdpAlHZWZsSru33f/9d0YPFZwCHBIEEAGyzXmkVClLgqXavEFNH6IkAQEtoAI1jQJEkAFCAQEYAyWkAikAMQBAAEgCVagCXawCZBIEEJ2kCUdlZmxKu7fd//13Rg9tsAJ1tAKNAbgCkQEBnQG8AqUBwAK1AcQClAECAQCYAQIBAJwBBgXJAlMIBKABBgXRAlMIBKQBBQQDBdQCqAEFBAMF2AKsAQUEAwXcArABBQQDBeACtAEFBAMF1AK4AQUEAwXUArwBBQQDBeQCwAEFBAMF6ALEAQUEAwXsAsgBBQQDBfACzAEFBAMF9ALQAQUEAwX4AtQBBQQDBfwC2AEFBAMFgAPcAQUEAwWEA+ABBQQDBYgD5AEFBAMFjAPoAQUEAwWQA+wBBQQDBZQD8AEFBAMFmAP0ASsEEgQQtnl8ctBB8lCqeXW5srpkmwwSBBAf64w4piHLS4kyF0IE31g0HAEB+AErBBIEEAK/8rw4eCBKmGd14gYy+BcMEgQQlJCa45USdUiMfWXS4u7tNRwBAfwBKwQSBBASNEZYcHxDQZqYZoH2d5DNDBIEEOg2X7+xZB5DjGnCwWbEd8IcAQGAAioEEgQQwTyXB+KOh0m3MxBae6gC8AwSBBB3dZxC27Y7RYSpzwo4tzISHACEAgUFnAMIAYgCBAUACAGSAj5BbHR1YS5PYWsuQ29yZS5DaGFydC5EZWZhdWx0UGxvdFNlcmllc1NldHRpbmdzLCBBbHR1YS5PYWsuQ29yZY0CRACUAgUFoAMIAZgCBAUACAGcAgUFpAMIAaACBAUACAGkAgsDAAAAAAAAAAAIAagCCwMAAAAAAAAAAAgBrAILAwAAAAAAAAAACAGwAhUFqAMNrAMVsAMdtAMluAMtvAM1wAO0AgcNxAMVyQNTuAILAwAAAAAAAAAACAS8AgYFzQNTCATAAgYFzQNTCATEAgUEAwXQA84CM0FsdHVhLk9hay5Db3JlLlRoZW1pbmcuQ29sb3JQb2ludGVyLCBBbHR1YS5PYWsuQ29yZckCU1BQUP/RAlNQUFD/1AICAQDYAg4BBtQD2APcA+AD5APoA9wCBAEB7APgAgIBAOQCAgEA6AICAQDsAg4BBvAD9AP4A/wDgASEBPACAgEA9AIOAQaIBIwEkASUBJgEnAT4AhQBCaAEpASoBKwEsAS0BLgEvATABPwCAgEAgAMEAQHEBIQDCgEEyATMBNAE1ASIAwIBAIwDAgEAkAMCAQCUAwIBAJgDAgEAnAMFBAMF2ASgAwUEAwXcBKQDBQQDBeAEqAMHBAMEAQAIBKwDBQQBLggEsAMEAAEIBLQDBAAACAS4AwQEAAgEvAMEBAAIBMADBAAACATEAwUEAwXkBMkDUz4+5f/NA1NQUFD/0AMCAQDUAw4F6QSbAQsAAAAAAAAAANgDDgXxBJ0BCwAAAAAAAAAA3AMOBfkEnwELAAAAAAAA4D/gAw4FgQWhAQsAAAAAAADgP+QDDgWJBaMBCwAAAAAAAOA/6AMOBZEFpQELAAAAAAAA+D/sAwgFmQWjAQ2cBfADCgWhBakBDakFqwH0AwoFsQWbAQ21Ba4B+AMKBb0FnwENwQWuAfwDCgXFBaEBDckFrgGABAkFzQW0AQ3VBVOEBAoF2QW3AQ3hBa4BiAQHBeUFugEJAIwEBwXtBbwBCQGQBAcF9QW+AQkBlAQHBf0FwAEJAZgEBwWFBsIBCQGcBAcFjQbEAQkBoAQKBZUGxgENnQbIAaQECgWlBsoBDa0GzAGoBAoFtQbOAQ29BtABrAQKBcUGzgENyQbTAbAECgXRBr4BDckG0wG0BAoF1Qa6AQ3ZBtcBuAQKBeEGwAEN2QbXAbwECgXlBsIBDekG2wHABAoFjQbEAQ3xBt0BxAQKBfkG3wENgQfhAcgECgWJB7oBDY0H5AHMBAoFlQfKAQ2ZB+QB0AQKBZ0HwAENoQfkAdQECgWlB8YBDakH5AHYBAYBAa0H7AHcBAYBAbUH7AHgBAYBAbkH7AHkBAQBAgEE7gRTQWx0dWEuT2FrLkNvcmUuTW9kaWZpY2F0aW9uLlN0eWxpbmcuQWxsVmFsdWVBeGlzQ3VzdG9taXphdGlvblRhcmdldCwgQWx0dWEuT2FrLkNvcmXpBJsBAPYEWUFsdHVhLk9hay5Db3JlLk1vZGlmaWNhdGlvbi5TdHlsaW5nLlZhbHVlQXhpc0dyaWRsaW5lc0N1c3RvbWl6YXRpb25UYXJnZXQsIEFsdHVhLk9hay5Db3Jl8QSdAQD+BFNBbHR1YS5PYWsuQ29yZS5Nb2RpZmljYXRpb24uU3R5bGluZy5DYXRlZ29yeUF4aXNDdXN0b21pemF0aW9uVGFyZ2V0LCBBbHR1YS5PYWsuQ29yZfkEnwEAhgVQQWx0dWEuT2FrLkNvcmUuTW9kaWZpY2F0aW9uLlN0eWxpbmcuT3JpZ29MaW5lQ3VzdG9taXphdGlvblRhcmdldCwgQWx0dWEuT2FrLkNvcmWBBaEBAI4FXUFsdHVhLk9hay5Db3JlLk1vZGlmaWNhdGlvbi5TdHlsaW5nLkFsbENvbm5lY3RvcnNBdXhpbGlhcnlDdXN0b21pemF0aW9uVGFyZ2V0LCBBbHR1YS5PYWsuQ29yZYkFowEAlgVZQWx0dWEuT2FrLkNvcmUuTW9kaWZpY2F0aW9uLlN0eWxpbmcuU2VyaWVzV2l0aFBsb3RLaW5kQ3VzdG9taXphdGlvblRhcmdldCwgQWx0dWEuT2FrLkNvcmWRBaUBAwW8B5kFowEAnAUFDAMFwAemBVZBbHR1YS5PYWsuQ29yZS5Nb2RpZmljYXRpb24uU3R5bGluZy5BbGxTZXJpZXNNYXJrZXJDdXN0b21pemF0aW9uVGFyZ2V0LCBBbHR1YS5PYWsuQ29yZaEFqQEArgU6QWx0dWEuT2FrLkNvcmUuVGhlbWluZy5CaW5kaW5nQ29sb3JQb2ludGVyLCBBbHR1YS5PYWsuQ29yZakFqwEFBcUH8gGxBZsBALoFN0FsdHVhLk9hay5Db3JlLlRoZW1pbmcuUGFnZUNvbG9yUG9pbnRlciwgQWx0dWEuT2FrLkNvcmW1Ba4BBAAACAC9BZ8BAMEFrgEEAAAIAMUFoQEAyQWuAQQAAAgA0gVTQWx0dWEuT2FrLkNvcmUuTW9kaWZpY2F0aW9uLlN0eWxpbmcuQWxsR3JpZGxpbmVzQ3VzdG9taXphdGlvblRhcmdldCwgQWx0dWEuT2FrLkNvcmXNBbQBANUFU4CAgP/eBVBBbHR1YS5PYWsuQ29yZS5Nb2RpZmljYXRpb24uU3R5bGluZy5Db21wb3NpdGVDdXN0b21pemF0aW9uVGFyZ2V0LCBBbHR1YS5PYWsuQ29yZdkFtwEFBAMFzAfhBa4BBAAFCADqBVhBbHR1YS5PYWsuQ29yZS5Nb2RpZmljYXRpb24uU3R5bGluZy5BbGxWYWx1ZUF4aXNMYWJlbEN1c3RvbWl6YXRpb25UYXJnZXQsIEFsdHVhLk9hay5Db3Jl5QW6AQDyBWZBbHR1YS5PYWsuQ29yZS5Nb2RpZmljYXRpb24uU3R5bGluZy5TdGFja2VkQmFyQXV0b21hdGljU2VnbWVudExhYmVsQ3VzdG9taXphdGlvblRhcmdldCwgQWx0dWEuT2FrLkNvcmXtBbwBAPoFVUFsdHVhLk9hay5Db3JlLk1vZGlmaWNhdGlvbi5TdHlsaW5nLkFsbFRvdGFsTGFiZWxzQ3VzdG9taXphdGlvblRhcmdldCwgQWx0dWEuT2FrLkNvcmX1Bb4BAIIGV0FsdHVhLk9hay5Db3JlLk1vZGlmaWNhdGlvbi5TdHlsaW5nLkFsbENhdGVnb3J5TGFiZWxDdXN0b21pemF0aW9uVGFyZ2V0LCBBbHR1YS5PYWsuQ29yZf0FwAEAigZYQWx0dWEuT2FrLkNvcmUuTW9kaWZpY2F0aW9uLlN0eWxpbmcuQWxsQXV4aWxpYXJ5TGFiZWxDdXN0b21pemF0aW9uVGFyZ2V0LCBBbHR1YS5PYWsuQ29yZYUGwgEAkgZYQWx0dWEuT2FrLkNvcmUuTW9kaWZpY2F0aW9uLlN0eWxpbmcuU2VyaWVzTGFiZWxPZlR5cGVDdXN0b21pemF0aW9uVGFyZ2V0LCBBbHR1YS5PYWsuQ29yZY0GxAECAAKaBlhBbHR1YS5PYWsuQ29yZS5Nb2RpZmljYXRpb24uU3R5bGluZy5DYXRlZ29yeUF4aXNUaXRsZUN1c3RvbWl6YXRpb25UYXJnZXQsIEFsdHVhLk9hay5Db3JllQbGAQCiBkZBbHR1YS5PYWsuQ29yZS5QbG90dGluZy5BeGlzVGl0bGVMYWJlbFBsYWNlbWVudE91dHNpZGUsIEFsdHVhLk9hay5Db3JlnQbIAQIAAaoGXUFsdHVhLk9hay5Db3JlLk1vZGlmaWNhdGlvbi5TdHlsaW5nLkFsbFZhbHVlQXhpc1RpdGxlTGFiZWxDdXN0b21pemF0aW9uVGFyZ2V0LCBBbHR1YS5PYWsuQ29yZaUGygEAsgZCQWx0dWEuT2FrLkNvcmUuUGxvdHRpbmcuQXhpc1RpdGxlTGFiZWxQbGFjZW1lbnRGYXIsIEFsdHVhLk9hay5Db3JlrQbMAQIAALoGX0FsdHVhLk9hay5Db3JlLk1vZGlmaWNhdGlvbi5TdHlsaW5nLlNlcmllc0xhYmVsc1dpdGhQbG90S2luZEN1c3RvbWl6YXRpb25UYXJnZXQsIEFsdHVhLk9hay5Db3JltQbOAQUF0AcIAMIGPEFsdHVhLk9hay5Db3JlLlBsb3R0aW5nLkxhYmVsUGxhY2VtZW50SW5zaWRlLCBBbHR1YS5PYWsuQ29yZb0G0AEEAAEIAcUGzgEFBdQHCADOBj1BbHR1YS5PYWsuQ29yZS5QbG90dGluZy5MYWJlbFBsYWNlbWVudE91dHNpZGUsIEFsdHVhLk9hay5Db3JlyQbTAQDRBr4BANUGugEA3gZBQWx0dWEuT2FrLkNvcmUuUGxvdHRpbmcuQXhpc0xhYmVsUGxhY2VtZW50T3V0c2lkZSwgQWx0dWEuT2FrLkNvcmXZBtcBAgEA4QbAAQDlBsIBAO4GRkFsdHVhLk9hay5Db3JlLlBsb3R0aW5nLkF1eGlsaWFyeUxhYmVsUGxhY2VtZW50RGVmYXVsdCwgQWx0dWEuT2FrLkNvcmXpBtsBAPYGQ0FsdHVhLk9hay5Db3JlLlBsb3R0aW5nLkxhYmVsUGxhY2VtZW50U2VyaWVzT3V0c2lkZSwgQWx0dWEuT2FrLkNvcmXxBt0BAgAA/gZQQWx0dWEuT2FrLkNvcmUuTW9kaWZpY2F0aW9uLlN0eWxpbmcuQWxsTGFiZWxzQ3VzdG9taXphdGlvblRhcmdldCwgQWx0dWEuT2FrLkNvcmX5Bt8BAIYHQkFsdHVhLk9hay5Db3JlLlN5bnRheFN0cnVjdHVyZS5BY3R1YWxGb250U2l6ZVZhbHVlLCBBbHR1YS5PYWsuQ29yZYEH4QEJAwAAAAAAAChAiQe6AQCSB0NBbHR1YS5PYWsuQ29yZS5TeW50YXhTdHJ1Y3R1cmUuQWN0dWFsRm9udENvbG9yVmFsdWUsIEFsdHVhLk9hay5Db3JljQfkAQUF2QeuAZUHygEAmQfkAQUF3QeuAZ0HwAEAoQfkAQUF4QeuAaUHxgEAqQfkAQUF5QeuAbIHL0FsdHVhLkRhdGEuSW5mcmFzdHJ1Y3R1cmUuUGFyYWdyYXBoLCBBbHR1YS5EYXRhrQfsAQUMAwXoB7UH7AEFDAMF7Ae5B+wBBQwDBfAHvAcBBcAHCgECAACAQAAAQEDKB0hBbHR1YS5PYWsuQ29yZS5TeW50YXhTdHJ1Y3R1cmUuUGxvdFNlcmllc0JpbmRpbmdTdHJhdGVneSwgQWx0dWEuT2FrLkNvcmXFB/IBAMwHEgEE9Qf+Af0H/gGBCP4BhQj+AdAHAgAB1AcBBdkHrgEEAAAIAN0HrgEEAAAIAOEHrgEEAAAIAOUHrgEEAAAIAOgHBgEBiQiDAuwHBgEBkQiDAvAHBgEBlQiDAvoHUEFsdHVhLk9hay5Db3JlLk1vZGlmaWNhdGlvbi5TdHlsaW5nLkRhdGFQb2ludEN1c3RvbWl6YXRpb25UYXJnZXQsIEFsdHVhLk9hay5Db3Jl9Qf+ASgEEgQQ3hL/oLfjmVGNga5GutPNVQwSBBDBPJcH4o6HSbczEFp7qALw/Qf+ASgEEgQQ3hL/oLfjmVGNga5GutPNVQwSBBASNEZYcHxDQZqYZoH2d5DNgQj+ASgEEgQQ3hL/oLfjmVGNga5GutPNVQwSBBACv/K8OHggSphndeIGMvgXhQj+ASgEEgQQ3hL/oLfjmVGNga5GutPNVQwSBBC2eXxy0EHyUKp5dbmyumSbjggvQWx0dWEuRGF0YS5JbmZyYXN0cnVjdHVyZS5OdW1iZXJSdW4sIEFsdHVhLkRhdGGJCIMCEwQOAwAAAAAAoJ9AHZkIhwINoAiRCIMCEwQOAwAAAAAAnJ9AHaUIhwINqAiVCIMCEwQOAwAAAAAAlJ9AHa0IhwINsAieCD1BbHR1YS5EYXRhLk51bWJlckZvcm1hdHRpbmcuQ29tcG9zaXRlTnVtYmVyRm9ybWF0LCBBbHR1YS5EYXRhmQiHAgsdtAgluAg1vAg9AKAIEgQAHAAkACwANAA8AEwAVABdAKUIhwILHcAIJcQINcgIPQCoCBIEABwAJAAsADQAPABMAFQAXQCtCIcCCx3MCCXQCDXUCD0AsAgSBAAcACQALAA0ADwATABUAF0AtAgJAAAMAwXYCBEAuAgJAAAMAwXcCBEAvAgKBAEsDAEuFAJrcsAICQAADAMF4AgRAMQICQAADAMF5AgRAMgICgQBLAwBLhQCa3LMCAkAAAwDBegIEQDQCAkAAAwDBewIEQDUCAoEASwMAS4UAmty2AgGAQHxCJ0C3AgKAQL5CJ8C8QidAuAIBgEBgQmdAuQICgEChQmfAoEJnQLoCAYBAYkJnQLsCAoBAo0JnwKJCZ0C9ghAQWx0dWEuRGF0YS5OdW1iZXJGb3JtYXR0aW5nLk51bWJlckZvcm1hdFZhbHVlU2VnbWVudCwgQWx0dWEuRGF0YfEInQIFBAMFkAn+CD9BbHR1YS5EYXRhLk51bWJlckZvcm1hdHRpbmcuTnVtYmVyRm9ybWF0VGV4dFNlZ21lbnQsIEFsdHVhLkRhdGH5CJ8CBQQBLQkBgQmdAgUEAwWUCYUJnwIFBAEtCQGJCZ0CBQQDBZgJjQmfAgUEAS0JAZAJBgEBnQmoApQJBgEBpQmoApgJBgEBqQmoAqIJOUFsdHVhLkRhdGEuTnVtYmVyRm9ybWF0dGluZy5OdW1iZXJQbGFjZWhvbGRlciwgQWx0dWEuRGF0YZ0JqAIFAjAAAAClCagCBQIwAAAAqQmoAgUCMAAAAA=="/>
  <p:tag name="GRUNT-SYNC" val="d671f450d31744dfbbc3c3f98840c10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vxAKN0FsdHVhLkRhdGEuRGF0YVNlcnZpY2VzLkVtYmVkZGVkRGF0YVNlcnZpY2UsIEFsdHVhLkRhdGEFAhkEEgQQIdvuy9weoUmKDCQpsdbCuw0MJREFDAYFGAgUEAcWQUFsdHVhLkRhdGEuRGF0YVNlcnZpY2VzLkVtYmVkZGVkRGF0YVNlcnZpY2VFZGl0b3JEYXRhLCBBbHR1YS5EYXRhEQUEBRwNIBgGBSQNKBUsHB4dBBIEEB/rjDimIctLiTIXQgTfWDQLAAAAAAAgYkAgHh0EEgQQhB+R4huFNUGwuFZrPUlJDwsAAAAAAAAyQCQEMDQ4PCgCQEQs6AIsBCgEEgQQ2o0rEHtPmkyZRivzTi/4HAwSBBBfl5CXxFq7QpsQMAZxTsVZDUgsBCgEEgQQH+uMOKYhy0uJMhdCBN9YNAwSBBBfl5CXxFq7QpsQMAZxTsVZDUwsBCgEEgQQlJCa45USdUiMfWXS4u7tNQwSBBD5LFn+/d9vRbn+Z9Mj0qsjDVAsBCgEEgQQ2o0rEHtPmkyZRivzTi/4HAwSBBD5LFn+/d9vRbn+Z9Mj0qsjDVQsBCgEEgQQ6DZfv7FkHkOMacLBZsR3wgwSBBD5LFn+/d9vRbn+Z9Mj0qsjDVgsBCgEEgQQlJCa45USdUiMfWXS4u7tNQwSBBBfl5CXxFq7QpsQMAZxTsVZDVwsBCgEEgQQH+uMOKYhy0uJMhdCBN9YNAwSBBD5LFn+/d9vRbn+Z9Mj0qsjDWAsBCgEEgQQ6DZfv7FkHkOMacLBZsR3wgwSBBBfl5CXxFq7QpsQMAZxTsVZDWQwGgQSBBDajSsQe0+aTJlGK/NOL/gcDAJDMRkBNBoEEgQQH+uMOKYhy0uJMhdCBN9YNAwCQzIZATgbBBIEEJSQmuOVEnVIjH1l0uLu7TUMA0MxOBkBPBsEEgQQ6DZfv7FkHkOMacLBZsR3wgwDQzE5GQFAGgQSBBBfl5CXxFq7QpsQMAZxTsVZDAJSMRkBRBoEEgQQ+SxZ/v3fb0W5/mfTI9KrIwwCUjMZAUgEDWgVbEwEDWgVcFAEDXQVeFQEDWgVfFgFDXQVgAFcBQ10FYQBYAUNaBWIAWQFDXQVjAFoAgQAbAUEAwWQAXAFBAMFlAF0AgQAeAUEAwWYAXwFBAMFnAGAAQUEAwWgAYQBBQQDBaQBiAEFBAMFqAGMAQUEAwWsAZABAgEAlAEFAQGxAS2YAQUBAbkBLZwBAgEAoAEFAQG9AS2kAQUBAcEBLagBBQEBxQEtrAEFAQHJAS22AS9BbHR1YS5EYXRhLkluZnJhc3RydWN0dXJlLlBhcmFncmFwaCwgQWx0dWEuRGF0YbEBLQUMAwXMAbkBLQUMAwXQAb0BLQUMAwXUAcEBLQUMAwXYAcUBLQUMAwXcAckBLQUMAwXgAcwBBQEB5QE60AEFAQHtATzUAQUBAfUBOtgBBQEB+QE63AEFAQH9ATzgAQUBAYECOuoBL0FsdHVhLkRhdGEuSW5mcmFzdHJ1Y3R1cmUuTnVtYmVyUnVuLCBBbHR1YS5EYXRh5QE6EgQNAwAAAAAAlJ9AHYUCQg2MAvIBLUFsdHVhLkRhdGEuSW5mcmFzdHJ1Y3R1cmUuVGV4dFJ1biwgQWx0dWEuRGF0Ye0BPAgEA24vYQ2QAvUBOhIEDQMAAAAAAABHQB2VAkINmAL5AToSBA0DAAAAAACcn0AdnQJCDaAC/QE8CAQDbi9hDaQCgQI6EgQNAwAAAAAAoJ9AHakCQg2sAooCPUFsdHVhLkRhdGEuTnVtYmVyRm9ybWF0dGluZy5Db21wb3NpdGVOdW1iZXJGb3JtYXQsIEFsdHVhLkRhdGGFAkILHbACJbQCNbgCPQCMAhIEABwAJAAsADQAPABMAFQAXQCQAhIEABwAJAAsADQAPABMAFQAXQCVAkILHbwCJcACNcQCPQCYAhIEABwAJAAsADQAPABMAFQAXQCdAkILHcgCJcwCNdACPQCgAhIEABwAJAAsADQAPABMAFQAXQCkAhIEABwAJAAsADQAPABMAFQAXQCpAkILHdQCJdgCNdwCPQCsAhIEABwAJAAsADQAPABMAFQAXQCwAgkAAAwDBeACEQC0AgkAAAwDBeQCEQC4AgoEASwMAS4UAmtyvAIJAAAMAwXoAhEAwAIJAAAMAwXsAhEAxAIKBAEsDAEuFAJrcsgCCQAADAMF8AIRAMwCCQAADAMF9AIRANACCgQBLAwBLhQCa3LUAgkAAAwDBfgCEQDYAgkAAAwDBfwCEQDcAgoEASwMAS4UAmty4AIFAQGBA2HkAggBAokDY4EDYegCBQEBkQNh7AIIAQKVA2ORA2HwAgUBAZkDYfQCCAECnQNjmQNh+AIFAQGhA2H8AggBAqUDY6EDYYYDQEFsdHVhLkRhdGEuTnVtYmVyRm9ybWF0dGluZy5OdW1iZXJGb3JtYXRWYWx1ZVNlZ21lbnQsIEFsdHVhLkRhdGGBA2EFBAMFqAOOAz9BbHR1YS5EYXRhLk51bWJlckZvcm1hdHRpbmcuTnVtYmVyRm9ybWF0VGV4dFNlZ21lbnQsIEFsdHVhLkRhdGGJA2MFBAEtCQGRA2EFBAMFrAOVA2MFBAEtCQGZA2EFBAMFsAOdA2MFBAEtCQGhA2EFBAMFtAOlA2MFBAEtCQGoAwUBAbkDb6wDBQEBwQNvsAMFAQG5A2+0AwUBAbkDb74DOUFsdHVhLkRhdGEuTnVtYmVyRm9ybWF0dGluZy5OdW1iZXJQbGFjZWhvbGRlciwgQWx0dWEuRGF0YbkDbwUCMAAAAMEDbwUCMAAAAA=="/>
  <p:tag name="GRUNT-X-PAGEOBJECT" val="AQUCvjEKOEFsdHVhLk9hay5Db3JlLkRvY3VtZW50TW9kZWwuQ2hhcnRPYmplY3QsIEFsdHVhLk9hay5Db3JlBQI1BBIEEHoTfDlcbK5Ej4LbRnIqGsQMEgQQIdvuy9weoUmKDCQpsdbCuxUNBCUUNRg9HFUgZSQSUEFsdHVhLk9hay5Db3JlLkRvY3VtZW50TW9kZWwuVGVtcGxhdGluZy5DdXN0b21Qb3NpdGlvbkRlZmluaXRpb24sIEFsdHVhLk9hay5Db3JlDQQkBCIBBDy+4ju681hACfDk2EKQeUCkgzoA2AZ0QPCyC2x+u0VAFBMVKB0sNTA4AEU1DlU8XUBkAgVEGAQEAgVIHAIFTCALBVAMBW5iLU5PFVQkEAEBCQERARkBIQEpATEBOQAoFgQSBBAAAAAAAAAAAAAAAAAAAAAACAEsFgQSBBAAAAAAAAAAAAAAAAAAAAAACAEwADpFQWx0dWEuT2FrLkNvcmUuQ2hhcnQuU3RhY2tlZEJhcldpdGhMaW5lUGxvdERlZmluaXRpb24sIEFsdHVhLk9hay5Db3JlNQ4yBBIEEP8pH4B+hV5IpUHhWWoVpbAcAgVYJVw1YDwCBWRJAW1opQFtHKkBALUBdR69AXw8BQWAAQ0AQAQBAAkARAgBA4QBiAGMAUgCAQBMAFAKBAEsDAEgFAJrclQJBAVuYi1OTwgBWAQBAZABXA0AAAgBFAMFlAEcACUAYCYEIgEEAAAAAAAAEEAAAAAAAAAQQAAAAAAAABBAAAAAAAAAEEAIBGQCAQBoCwMAAAAAAABMQAggckVBbHR1YS5PYWsuQ29yZS5QbG90dGluZy5BdXRvbWF0aWNDYXRlZ29yeUF4aXNTZXR0aW5ncywgQWx0dWEuT2FrLkNvcmVtHBMBAQ2YARAAGQEwAD2cAUWgAUgBej1BbHR1YS5PYWsuQ29yZS5UaGVtaW5nLlBhZ2VDb2xvclNjaGVtZVBvaW50ZXIsIEFsdHVhLk9hay5Db3JldR4AfEo1pAE9qAFFrAFVsAFdtAF1uAGNAbwBnQHAAaUBxAGtAcgBzQHMAdUB0AHdAdQB5QHYAe0B3AH1AeAB/QHkAYUC6AGNAuwBlQLwAYABBvQB+AH8AYQBSQQSBBDeEv+gt+OZUY2Brka6081VDBIEEMxjDokQO+FNpItZB2Pl+cIVgAIcEgQQ+SxZ/v3fb0W5/mfTI9KrIyQBAS2EAjWJAkOIAUkEEgQQMJ2TYTolGkK3RQAIzlWRyAwSBBDMYw6JEDvhTaSLWQdj5fnCFZACHBIEEDcGo+sqLPlEoN7fVizMk+kkAQEtlAI1iQJDjAFJBBIEEAA+VhGeTC9NpQC+OgLm/vAMEgQQzGMOiRA74U2ki1kHY+X5whWYAhwSBBABss15pFQpS4Kl2rxBTR+iJAEBLZwCNYkCQ5ABQgEBGAMloAIpADEAQABIAlWkAl2oAmQSBBDMYw6JEDvhTaSLWQdj5fnCbawCdbACjQG0ApEBAZ0BuAKlAbwCtQHAApQBAgEAmAECAQCcAQYFxQJSCASgAQYFzQJSCASkAQUEAwXQAqgBBQQDBdQCrAEFBAMF2AKwAQUEAwXcArQBBQQDBdACuAEFBAMF0AK8AQUEAwXgAsABBQQDBeQCxAEFBAMF6ALIAQUEAwXsAswBBQQDBfAC0AEFBAMF9ALUAQUEAwX4AtgBBQQDBfwC3AEFBAMFgAPgAQUEAwWEA+QBBQQDBYgD6AEFBAMFjAPsAQUEAwWQA/ABBQQDBZQD9AErBBIEELZ5fHLQQfJQqnl1ubK6ZJsMEgQQH+uMOKYhy0uJMhdCBN9YNBwBAfgBKwQSBBACv/K8OHggSphndeIGMvgXDBIEEJSQmuOVEnVIjH1l0uLu7TUcAQH8ASsEEgQQEjRGWHB8Q0GamGaB9neQzQwSBBDoNl+/sWQeQ4xpwsFmxHfCHAEBgAIFBZgDCAGEAgQFAAgBjgI+QWx0dWEuT2FrLkNvcmUuQ2hhcnQuRGVmYXVsdFBsb3RTZXJpZXNTZXR0aW5ncywgQWx0dWEuT2FrLkNvcmWJAkMAkAIFBZwDCAGUAgQFAAgBmAIFBaADCAGcAgQFAAgBoAILAwAAAAAAAAAACAGkAgsDAAAAAAAAAAAIAagCCwMAAAAAAAAAAAgBrAIVBaQDDagDFawDHbADJbQDLbgDNbwDsAIHDcADFcUDUrQCCwMAAAAAAAAAAAgEuAIGBckDUggEvAIGBckDUggEwAIFBAMFzAPKAjNBbHR1YS5PYWsuQ29yZS5UaGVtaW5nLkNvbG9yUG9pbnRlciwgQWx0dWEuT2FrLkNvcmXFAlJQUFD/zQJSUFBQ/9ACAgEA1AIOAQbQA9QD2APcA+AD5APYAgQBAegD3AICAQDgAgIBAOQCAgEA6AIOAQbsA/AD9AP4A/wDgATsAgIBAPACDgEGhASIBIwEkASUBJgE9AIUAQmcBKAEpASoBKwEsAS0BLgEvAT4AgIBAPwCBAEBwASAAwoBBMQEyATMBNAEhAMCAQCIAwIBAIwDAgEAkAMCAQCUAwIBAJgDBQQDBdQEnAMFBAMF2ASgAwUEAwXcBKQDBwQDBAEACASoAwUEAS4IBKwDBAABCASwAwQAAAgEtAMEBAAIBLgDBAQACAS8AwQAAAgEwAMFBAMF4ATFA1I+PuX/yQNSUFBQ/8wDAgEA0AMOBeUEmgELAAAAAAAAAADUAw4F7QScAQsAAAAAAAAAANgDDgX1BJ4BCwAAAAAAAOA/3AMOBf0EoAELAAAAAAAA4D/gAw4FhQWiAQsAAAAAAADgP+QDDgWNBaQBCwAAAAAAAPg/6AMIBZUFogENmAXsAwoFnQWoAQ2lBaoB8AMKBa0FmgENsQWtAfQDCgW5BZ4BDb0FrQH4AwoFwQWgAQ3FBa0B/AMJBckFswEN0QVSgAQKBdUFtgEN3QWtAYQEBwXhBbkBCQCIBAcF6QW7AQkBjAQHBfEFvQEJAZAEBwX5Bb8BCQGUBAcFgQbBAQkBmAQHBYkGwwEJAZwECgWRBsUBDZkGxwGgBAoFoQbJAQ2pBssBpAQKBbEGzQENuQbPAagECgXBBs0BDcUG0gGsBAoFzQa9AQ3FBtIBsAQKBdEGuQEN1QbWAbQECgXdBr8BDdUG1gG4BAoF4QbBAQ3lBtoBvAQKBYkGwwEN7QbcAcAECgX1Bt4BDf0G4AHEBAoFhQe5AQ2JB+MByAQKBZEHyQENlQfjAcwECgWZB78BDZ0H4wHQBAoFoQfFAQ2lB+MB1AQGAQGpB+sB2AQGAQGxB+sB3AQGAQG1B+sB4AQEAQIBBOoEU0FsdHVhLk9hay5Db3JlLk1vZGlmaWNhdGlvbi5TdHlsaW5nLkFsbFZhbHVlQXhpc0N1c3RvbWl6YXRpb25UYXJnZXQsIEFsdHVhLk9hay5Db3Jl5QSaAQDyBFlBbHR1YS5PYWsuQ29yZS5Nb2RpZmljYXRpb24uU3R5bGluZy5WYWx1ZUF4aXNHcmlkbGluZXNDdXN0b21pemF0aW9uVGFyZ2V0LCBBbHR1YS5PYWsuQ29yZe0EnAEA+gRTQWx0dWEuT2FrLkNvcmUuTW9kaWZpY2F0aW9uLlN0eWxpbmcuQ2F0ZWdvcnlBeGlzQ3VzdG9taXphdGlvblRhcmdldCwgQWx0dWEuT2FrLkNvcmX1BJ4BAIIFUEFsdHVhLk9hay5Db3JlLk1vZGlmaWNhdGlvbi5TdHlsaW5nLk9yaWdvTGluZUN1c3RvbWl6YXRpb25UYXJnZXQsIEFsdHVhLk9hay5Db3Jl/QSgAQCKBV1BbHR1YS5PYWsuQ29yZS5Nb2RpZmljYXRpb24uU3R5bGluZy5BbGxDb25uZWN0b3JzQXV4aWxpYXJ5Q3VzdG9taXphdGlvblRhcmdldCwgQWx0dWEuT2FrLkNvcmWFBaIBAJIFWUFsdHVhLk9hay5Db3JlLk1vZGlmaWNhdGlvbi5TdHlsaW5nLlNlcmllc1dpdGhQbG90S2luZEN1c3RvbWl6YXRpb25UYXJnZXQsIEFsdHVhLk9hay5Db3JljQWkAQMFuAeVBaIBAJgFBQwDBbwHogVWQWx0dWEuT2FrLkNvcmUuTW9kaWZpY2F0aW9uLlN0eWxpbmcuQWxsU2VyaWVzTWFya2VyQ3VzdG9taXphdGlvblRhcmdldCwgQWx0dWEuT2FrLkNvcmWdBagBAKoFOkFsdHVhLk9hay5Db3JlLlRoZW1pbmcuQmluZGluZ0NvbG9yUG9pbnRlciwgQWx0dWEuT2FrLkNvcmWlBaoBBQXBB/EBrQWaAQC2BTdBbHR1YS5PYWsuQ29yZS5UaGVtaW5nLlBhZ2VDb2xvclBvaW50ZXIsIEFsdHVhLk9hay5Db3JlsQWtAQQAAAgAuQWeAQC9Ba0BBAAACADBBaABAMUFrQEEAAAIAM4FU0FsdHVhLk9hay5Db3JlLk1vZGlmaWNhdGlvbi5TdHlsaW5nLkFsbEdyaWRsaW5lc0N1c3RvbWl6YXRpb25UYXJnZXQsIEFsdHVhLk9hay5Db3JlyQWzAQDRBVKAgID/2gVNQWx0dWEuT2FrLkNvcmUuTW9kaWZpY2F0aW9uLlN0eWxpbmcuU2VyaWVzQ3VzdG9taXphdGlvblRhcmdldCwgQWx0dWEuT2FrLkNvcmXVBbYBFAQSBBDeEv+gt+OZUY2Brka6081V3QWtAQQABQgA5gVYQWx0dWEuT2FrLkNvcmUuTW9kaWZpY2F0aW9uLlN0eWxpbmcuQWxsVmFsdWVBeGlzTGFiZWxDdXN0b21pemF0aW9uVGFyZ2V0LCBBbHR1YS5PYWsuQ29yZeEFuQEA7gVmQWx0dWEuT2FrLkNvcmUuTW9kaWZpY2F0aW9uLlN0eWxpbmcuU3RhY2tlZEJhckF1dG9tYXRpY1NlZ21lbnRMYWJlbEN1c3RvbWl6YXRpb25UYXJnZXQsIEFsdHVhLk9hay5Db3Jl6QW7AQD2BVVBbHR1YS5PYWsuQ29yZS5Nb2RpZmljYXRpb24uU3R5bGluZy5BbGxUb3RhbExhYmVsc0N1c3RvbWl6YXRpb25UYXJnZXQsIEFsdHVhLk9hay5Db3Jl8QW9AQD+BVdBbHR1YS5PYWsuQ29yZS5Nb2RpZmljYXRpb24uU3R5bGluZy5BbGxDYXRlZ29yeUxhYmVsQ3VzdG9taXphdGlvblRhcmdldCwgQWx0dWEuT2FrLkNvcmX5Bb8BAIYGWEFsdHVhLk9hay5Db3JlLk1vZGlmaWNhdGlvbi5TdHlsaW5nLkFsbEF1eGlsaWFyeUxhYmVsQ3VzdG9taXphdGlvblRhcmdldCwgQWx0dWEuT2FrLkNvcmWBBsEBAI4GWEFsdHVhLk9hay5Db3JlLk1vZGlmaWNhdGlvbi5TdHlsaW5nLlNlcmllc0xhYmVsT2ZUeXBlQ3VzdG9taXphdGlvblRhcmdldCwgQWx0dWEuT2FrLkNvcmWJBsMBAgAClgZYQWx0dWEuT2FrLkNvcmUuTW9kaWZpY2F0aW9uLlN0eWxpbmcuQ2F0ZWdvcnlBeGlzVGl0bGVDdXN0b21pemF0aW9uVGFyZ2V0LCBBbHR1YS5PYWsuQ29yZZEGxQEAngZGQWx0dWEuT2FrLkNvcmUuUGxvdHRpbmcuQXhpc1RpdGxlTGFiZWxQbGFjZW1lbnRPdXRzaWRlLCBBbHR1YS5PYWsuQ29yZZkGxwECAAGmBl1BbHR1YS5PYWsuQ29yZS5Nb2RpZmljYXRpb24uU3R5bGluZy5BbGxWYWx1ZUF4aXNUaXRsZUxhYmVsQ3VzdG9taXphdGlvblRhcmdldCwgQWx0dWEuT2FrLkNvcmWhBskBAK4GQkFsdHVhLk9hay5Db3JlLlBsb3R0aW5nLkF4aXNUaXRsZUxhYmVsUGxhY2VtZW50RmFyLCBBbHR1YS5PYWsuQ29yZakGywECAAC2Bl9BbHR1YS5PYWsuQ29yZS5Nb2RpZmljYXRpb24uU3R5bGluZy5TZXJpZXNMYWJlbHNXaXRoUGxvdEtpbmRDdXN0b21pemF0aW9uVGFyZ2V0LCBBbHR1YS5PYWsuQ29yZbEGzQEFBcgHCAC+BjxBbHR1YS5PYWsuQ29yZS5QbG90dGluZy5MYWJlbFBsYWNlbWVudEluc2lkZSwgQWx0dWEuT2FrLkNvcmW5Bs8BBAABCAHBBs0BBQXMBwgAygY9QWx0dWEuT2FrLkNvcmUuUGxvdHRpbmcuTGFiZWxQbGFjZW1lbnRPdXRzaWRlLCBBbHR1YS5PYWsuQ29yZcUG0gEAzQa9AQDRBrkBANoGQUFsdHVhLk9hay5Db3JlLlBsb3R0aW5nLkF4aXNMYWJlbFBsYWNlbWVudE91dHNpZGUsIEFsdHVhLk9hay5Db3Jl1QbWAQIBAN0GvwEA4QbBAQDqBkZBbHR1YS5PYWsuQ29yZS5QbG90dGluZy5BdXhpbGlhcnlMYWJlbFBsYWNlbWVudERlZmF1bHQsIEFsdHVhLk9hay5Db3Jl5QbaAQDyBkNBbHR1YS5PYWsuQ29yZS5QbG90dGluZy5MYWJlbFBsYWNlbWVudFNlcmllc091dHNpZGUsIEFsdHVhLk9hay5Db3Jl7QbcAQIAAPoGUEFsdHVhLk9hay5Db3JlLk1vZGlmaWNhdGlvbi5TdHlsaW5nLkFsbExhYmVsc0N1c3RvbWl6YXRpb25UYXJnZXQsIEFsdHVhLk9hay5Db3Jl9QbeAQCCB0JBbHR1YS5PYWsuQ29yZS5TeW50YXhTdHJ1Y3R1cmUuQWN0dWFsRm9udFNpemVWYWx1ZSwgQWx0dWEuT2FrLkNvcmX9BuABCQMAAAAAAAAoQIUHuQEAjgdDQWx0dWEuT2FrLkNvcmUuU3ludGF4U3RydWN0dXJlLkFjdHVhbEZvbnRDb2xvclZhbHVlLCBBbHR1YS5PYWsuQ29yZYkH4wEFBdEHrQGRB8kBAJUH4wEFBdUHrQGZB78BAJ0H4wEFBdkHrQGhB8UBAKUH4wEFBd0HrQGuBy9BbHR1YS5EYXRhLkluZnJhc3RydWN0dXJlLlBhcmFncmFwaCwgQWx0dWEuRGF0YakH6wEFDAMF4AexB+sBBQwDBeQHtQfrAQUMAwXoB7gHAQW8BwoBAgAAgEAAAEBAxgdIQWx0dWEuT2FrLkNvcmUuU3ludGF4U3RydWN0dXJlLlBsb3RTZXJpZXNCaW5kaW5nU3RyYXRlZ3ksIEFsdHVhLk9hay5Db3JlwQfxAQDIBwIAAcwHAQXRB60BBAAACADVB60BBAAACADZB60BBAAACADdB60BBAAACADgBwYBAe0H/AHkBwYBAfUH/AHoBwYBAfkH/AHyBy9BbHR1YS5EYXRhLkluZnJhc3RydWN0dXJlLk51bWJlclJ1biwgQWx0dWEuRGF0Ye0H/AETBA4DAAAAAACgn0Ad/QeAAg2ECPUH/AETBA4DAAAAAACcn0AdiQiAAg2MCPkH/AETBA4DAAAAAACUn0AdkQiAAg2UCIIIPUFsdHVhLkRhdGEuTnVtYmVyRm9ybWF0dGluZy5Db21wb3NpdGVOdW1iZXJGb3JtYXQsIEFsdHVhLkRhdGH9B4ACCx2YCCWcCDWgCD0AhAgSBAAcACQALAA0ADwATABUAF0AiQiAAgsdpAglqAg1rAg9AIwIEgQAHAAkACwANAA8AEwAVABdAJEIgAILHbAIJbQINbgIPQCUCBIEABwAJAAsADQAPABMAFQAXQCYCAkAAAwDBbwIEQCcCAkAAAwDBcAIEQCgCAoEASwMAS4UAmtypAgJAAAMAwXECBEAqAgJAAAMAwXICBEArAgKBAEsDAEuFAJrcrAICQAADAMFzAgRALQICQAADAMF0AgRALgICgQBLAwBLhQCa3K8CAYBAdUIlgLACAoBAt0ImALVCJYCxAgGAQHlCJYCyAgKAQLpCJgC5QiWAswIBgEB7QiWAtAICgEC8QiYAu0IlgLaCEBBbHR1YS5EYXRhLk51bWJlckZvcm1hdHRpbmcuTnVtYmVyRm9ybWF0VmFsdWVTZWdtZW50LCBBbHR1YS5EYXRh1QiWAgUEAwX0COIIP0FsdHVhLkRhdGEuTnVtYmVyRm9ybWF0dGluZy5OdW1iZXJGb3JtYXRUZXh0U2VnbWVudCwgQWx0dWEuRGF0Yd0ImAIFBAEtCQHlCJYCBQQDBfgI6QiYAgUEAS0JAe0IlgIFBAMF/AjxCJgCBQQBLQkB9AgGAQGBCaEC+AgGAQGJCaEC/AgGAQGNCaEChgk5QWx0dWEuRGF0YS5OdW1iZXJGb3JtYXR0aW5nLk51bWJlclBsYWNlaG9sZGVyLCBBbHR1YS5EYXRhgQmhAgUCMAAAAIkJoQIFAjAAAACNCaECBQIwAAAA"/>
  <p:tag name="GRUNT-X-SHAPEBOUNDS" val="ASIBBAAAAEC641hAAAAAAH/BeEAAAAAA2A50QAAAAEBoslJAAA=="/>
  <p:tag name="GRUNT-RENDERHASH" val="ada399a6166e4bc9a3f4ba623e7b7f71-svg"/>
  <p:tag name="GRUNT-SYNC" val="2c8e8c20e8e044c9a285e7bb5bb7a69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gBMKN0FsdHVhLkRhdGEuRGF0YVNlcnZpY2VzLkVtYmVkZGVkRGF0YVNlcnZpY2UsIEFsdHVhLkRhdGEFAhkEEgQQDlNDm1wtgUaiFRsF4ldTEQ0MJREFDAYFGAgVEAcWQUFsdHVhLkRhdGEuRGF0YVNlcnZpY2VzLkVtYmVkZGVkRGF0YVNlcnZpY2VFZGl0b3JEYXRhLCBBbHR1YS5EYXRhEQUEBRwNIBgGBSQNKBUsHB4dBBIEEB/rjDimIctLiTIXQgTfWDQLAAAAAAAgYkAgHh0EEgQQhB+R4huFNUGwuFZrPUlJDwsAAAAAAAAyQCQFMDQ4PEAoAkRILMIDLAQoBBIEENqNKxB7T5pMmUYr804v+BwMEgQQX5eQl8Rau0KbEDAGcU7FWQ1MLAQoBBIEEB/rjDimIctLiTIXQgTfWDQMEgQQX5eQl8Rau0KbEDAGcU7FWQ1QLAQoBBIEEJSQmuOVEnVIjH1l0uLu7TUMEgQQ+SxZ/v3fb0W5/mfTI9KrIw1ULAQoBBIEENqNKxB7T5pMmUYr804v+BwMEgQQ+SxZ/v3fb0W5/mfTI9KrIw1YLAQoBBIEEOg2X7+xZB5DjGnCwWbEd8IMEgQQ+SxZ/v3fb0W5/mfTI9KrIw1cLAQoBBIEEJSQmuOVEnVIjH1l0uLu7TUMEgQQX5eQl8Rau0KbEDAGcU7FWQ1gLAQoBBIEEHd1nELbtjtFhKnPCji3MhIMEgQQX5eQl8Rau0KbEDAGcU7FWQ1kLAQoBBIEEHd1nELbtjtFhKnPCji3MhIMEgQQ+SxZ/v3fb0W5/mfTI9KrIw1oLAQoBBIEEB/rjDimIctLiTIXQgTfWDQMEgQQ+SxZ/v3fb0W5/mfTI9KrIw1sLAQoBBIEEOg2X7+xZB5DjGnCwWbEd8IMEgQQX5eQl8Rau0KbEDAGcU7FWQ1wMBoEEgQQ2o0rEHtPmkyZRivzTi/4HAwCQzEZATQaBBIEEB/rjDimIctLiTIXQgTfWDQMAkMyGQE4GwQSBBCUkJrjlRJ1SIx9ZdLi7u01DANDMTgZATwbBBIEEOg2X7+xZB5DjGnCwWbEd8IMA0MxORkBQBsEEgQQd3WcQtu2O0WEqc8KOLcyEgwDQzIwGQFEGgQSBBBfl5CXxFq7QpsQMAZxTsVZDAJSMRkBSBoEEgQQ+SxZ/v3fb0W5/mfTI9KrIwwCUjMZAUwEDXQVeFAEDXQVfFQGDYABFYQBWAUNdBWIAVwGDYABFYwBYAYNgAEVkAFkBg2UARWYAWgGDZQBFZwBbAUNdBWgAXAGDYABFaQBdAIEAHgFBAMFqAF8BQQDBawBgAECBACEAQUEAwWwAYgBBQQDBbQBjAEFBAMFuAGQAQUEAwW8AZQBAgQAmAEFBAMFwAGcAQUEAwXEAaABBQQDBcgBpAEFBAMFzAGoAQIBAKwBBQEB0QE1sAEFAQHZATW0AQIBALgBBQEB3QE1vAEFAQHhATXAAQUBAeUBNcQBBQEB6QE1yAEFAQHtATXMAQUBAfEBNdYBL0FsdHVhLkRhdGEuSW5mcmFzdHJ1Y3R1cmUuUGFyYWdyYXBoLCBBbHR1YS5EYXRh0QE1BQwDBfQB2QE1BQwDBfgB3QE1BQwDBfwB4QE1BQwDBYAC5QE1BQwDBYQC6QE1BQwDBYgC7QE1BQwDBYwC8QE1BQwDBZAC9AEFAQGVAkb4AQUBAZ0CSPwBBQEBpQJIgAIFAQGpAkaEAgUBAa0CRogCBQEBsQJIjAIFAQG1AkiQAgUBAbkCRpoCLUFsdHVhLkRhdGEuSW5mcmFzdHJ1Y3R1cmUuVGV4dFJ1biwgQWx0dWEuRGF0YZUCRhQED1Ryw7huZGVsYWcgTm9yZA28AqICL0FsdHVhLkRhdGEuSW5mcmFzdHJ1Y3R1cmUuTnVtYmVyUnVuLCBBbHR1YS5EYXRhnQJIEgQNAwAAAAAAgE5AHcECUQ3IAqUCSBIEDQMAAAAAAAA5QB3NAlEN0AKpAkYUBA9UcsO4bmRlbGFnIFPDuHIN1AKtAkYKBAVOb3JnZQ3YArECSBIEDQMAAAAAAIBBQB3dAlEN4AK1AkgSBA0DAAAAAACAS0Ad5QJRDegCuQJGFQQQTcO4cmUgb2cgUm9tc2RhbA3sArwCEgQAHAAkACwANAA8AEwAVABdAMYCPUFsdHVhLkRhdGEuTnVtYmVyRm9ybWF0dGluZy5Db21wb3NpdGVOdW1iZXJGb3JtYXQsIEFsdHVhLkRhdGHBAlELHfACJfQCNfgCPQDIAhIEABwAJAAsADQAPABMAFQAXQDNAlELHfwCJYADNYQDPQDQAhIEABwAJAAsADQAPABMAFQAXQDUAhIEABwAJAAsADQAPABMAFQAXQDYAhIEABwAJAAsADQAPABMAFQAXQDdAlELHYgDJYwDNZADPQDgAhIEABwAJAAsADQAPABMAFQAXQDlAlELHZQDJZgDNZwDPQDoAhIEABwAJAAsADQAPABMAFQAXQDsAhIEABwAJAAsADQAPABMAFQAXQDwAgkAAAwDBaADEQD0AgkAAAwDBaQDEQD4AgoEASwMAS4UAmty/AIJAAAMAwWoAxEAgAMJAAAMAwWsAxEAhAMKBAEsDAEuFAJrcogDCQAADAMFsAMRAIwDCQAADAMFtAMRAJADCgQBLAwBLhQCa3KUAwkAAAwDBbgDEQCYAwkAAAwDBbwDEQCcAwoEASwMAS4UAmtyoAMFAQHBA3GkAwgBAskDc8EDcagDBQEB0QNxrAMIAQLVA3PRA3GwAwUBAdkDcbQDCAEC3QNz2QNxuAMFAQHhA3G8AwgBAuUDc+EDccYDQEFsdHVhLkRhdGEuTnVtYmVyRm9ybWF0dGluZy5OdW1iZXJGb3JtYXRWYWx1ZVNlZ21lbnQsIEFsdHVhLkRhdGHBA3EFBAMF6APOAz9BbHR1YS5EYXRhLk51bWJlckZvcm1hdHRpbmcuTnVtYmVyRm9ybWF0VGV4dFNlZ21lbnQsIEFsdHVhLkRhdGHJA3MFBAEtCQHRA3EFBAMF7APVA3MFBAEtCQHZA3EFBAMF8APdA3MFBAEtCQHhA3EFBAMF9APlA3MFBAEtCQHoAwUBAfkDf+wDBQEB+QN/8AMFAQH5A3/0AwUBAYEEf/4DOUFsdHVhLkRhdGEuTnVtYmVyRm9ybWF0dGluZy5OdW1iZXJQbGFjZWhvbGRlciwgQWx0dWEuRGF0YfkDfwUCMAAAAIEEfwUCMAAAAA=="/>
  <p:tag name="GRUNT-SYNC" val="d619fcdcf2c34217885ea0180551fa73"/>
  <p:tag name="GRUNT-X-PAGEOBJECT" val="AQUC/TMKOEFsdHVhLk9hay5Db3JlLkRvY3VtZW50TW9kZWwuQ2hhcnRPYmplY3QsIEFsdHVhLk9hay5Db3JlBQI1BBIEEMHEUeAjef9GnMceq975Kv0MEgQQDlNDm1wtgUaiFRsF4ldTERUNBCUUNRg9HFUgZSQSUEFsdHVhLk9hay5Db3JlLkRvY3VtZW50TW9kZWwuVGVtcGxhdGluZy5DdXN0b21Qb3NpdGlvbkRlZmluaXRpb24sIEFsdHVhLk9hay5Db3JlDQQkBCIBBAnN7JSPG39AIZI40f4hd0AnZkb+pF96QBhRt1TPllRAFBMVKB0sNTA4AEU1DlU8XUBkAgVEGAQEAgVIHAIFTCALBVAMBW5iLU5PFVQkEAEBCQERARkBIQEpATEBOQAoFgQSBBAAAAAAAAAAAAAAAAAAAAAACAEsFgQSBBAAAAAAAAAAAAAAAAAAAAAACAEwADpFQWx0dWEuT2FrLkNvcmUuQ2hhcnQuU3RhY2tlZEJhcldpdGhMaW5lUGxvdERlZmluaXRpb24sIEFsdHVhLk9hay5Db3JlNQ4yBBIEEJCj9i+u/N1CvUB6H4jxDsQcAgVYJVw1YDwCBWRJAW1opQFtHKkBALUBdR69AXw8BQWAAQ0AQAQBAAkARAgBA4QBiAGMAUgCAQBMAFAKBAEsDAEgFAJrclQJBAVuYi1OTwgBWAQBAZABXA0AAAgBFAMFlAEcACUAYCYEIgEEAAAAAAAAEEAAAAAAAAAQQAAAAAAAABBAAAAAAAAAEEAIBGQCAQBoCwMAAAAAAABMQAggckVBbHR1YS5PYWsuQ29yZS5QbG90dGluZy5BdXRvbWF0aWNDYXRlZ29yeUF4aXNTZXR0aW5ncywgQWx0dWEuT2FrLkNvcmVtHBMBAQ2YARAAGQEwAD2cAUWgAUgBej1BbHR1YS5PYWsuQ29yZS5UaGVtaW5nLlBhZ2VDb2xvclNjaGVtZVBvaW50ZXIsIEFsdHVhLk9hay5Db3JldR4AfEo1pAE9qAFFrAFVsAFdtAF1uAGNAbwBnQHAAaUBxAGtAcgBzQHMAdUB0AHdAdQB5QHYAe0B3AH1AeAB/QHkAYUC6AGNAuwBlQLwAYABCPQB+AH8AYAChAFJBBIEEN4S/6C345lRjYGuRrrTzVUMEgQQR/QrIfeo9UCstflZzg+ORBWEAhwSBBD5LFn+/d9vRbn+Z9Mj0qsjJAEBLYgCNY0CRIgBSQQSBBAwnZNhOiUaQrdFAAjOVZHIDBIEEEf0KyH3qPVArLX5Wc4PjkQVlAIcEgQQNwaj6yos+USg3t9WLMyT6SQBAS2YAjWNAkSMAUkEEgQQAD5WEZ5ML02lAL46Aub+8AwSBBBH9Csh96j1QKy1+VnOD45EFZwCHBIEEAGyzXmkVClLgqXavEFNH6IkAQEtoAI1jQJEkAFCAQEYAyWkAikAMQBAAEgCVagCXawCZBIEEEf0KyH3qPVArLX5Wc4PjkRtsAJ1tAKNAbgCkQEBnQG8AqUBwAK1AcQClAECAQCYAQIBAJwBBgXJAlMIBKABBgXRAlMIBKQBBQQDBdQCqAEFBAMF2AKsAQUEAwXcArABBQQDBeACtAEFBAMF1AK4AQUEAwXUArwBBQQDBeQCwAEFBAMF6ALEAQUEAwXsAsgBBQQDBfACzAEFBAMF9ALQAQUEAwX4AtQBBQQDBfwC2AEFBAMFgAPcAQUEAwWEA+ABBQQDBYgD5AEFBAMFjAPoAQUEAwWQA+wBBQQDBZQD8AEFBAMFmAP0ASsEEgQQtnl8ctBB8lCqeXW5srpkmwwSBBAf64w4piHLS4kyF0IE31g0HAEB+AErBBIEEAK/8rw4eCBKmGd14gYy+BcMEgQQlJCa45USdUiMfWXS4u7tNRwBAfwBKwQSBBASNEZYcHxDQZqYZoH2d5DNDBIEEOg2X7+xZB5DjGnCwWbEd8IcAQGAAioEEgQQwTyXB+KOh0m3MxBae6gC8AwSBBB3dZxC27Y7RYSpzwo4tzISHACEAgUFnAMIAYgCBAUACAGSAj5BbHR1YS5PYWsuQ29yZS5DaGFydC5EZWZhdWx0UGxvdFNlcmllc1NldHRpbmdzLCBBbHR1YS5PYWsuQ29yZY0CRACUAgUFoAMIAZgCBAUACAGcAgUFpAMIAaACBAUACAGkAgsDAAAAAAAAAAAIAagCCwMAAAAAAAAAAAgBrAILAwAAAAAAAAAACAGwAhUFqAMNrAMVsAMdtAMluAMtvAM1wAO0AgcNxAMVyQNTuAILAwAAAAAAAAAACAS8AgYFzQNTCATAAgYFzQNTCATEAgUEAwXQA84CM0FsdHVhLk9hay5Db3JlLlRoZW1pbmcuQ29sb3JQb2ludGVyLCBBbHR1YS5PYWsuQ29yZckCU1BQUP/RAlNQUFD/1AICAQDYAg4BBtQD2APcA+AD5APoA9wCBAEB7APgAgIBAOQCAgEA6AICAQDsAg4BBvAD9AP4A/wDgASEBPACAgEA9AIOAQaIBIwEkASUBJgEnAT4AhQBCaAEpASoBKwEsAS0BLgEvATABPwCAgEAgAMEAQHEBIQDCgEEyATMBNAE1ASIAwIBAIwDAgEAkAMCAQCUAwIBAJgDAgEAnAMFBAMF2ASgAwUEAwXcBKQDBQQDBeAEqAMHBAMEAQAIBKwDBQQBLggEsAMEAAEIBLQDBAAACAS4AwQEAAgEvAMEBAAIBMADBAAACATEAwUEAwXkBMkDUz4+5f/NA1NQUFD/0AMCAQDUAw4F6QSbAQsAAAAAAAAAANgDDgXxBJ0BCwAAAAAAAAAA3AMOBfkEnwELAAAAAAAA4D/gAw4FgQWhAQsAAAAAAADgP+QDDgWJBaMBCwAAAAAAAOA/6AMOBZEFpQELAAAAAAAA+D/sAwgFmQWjAQ2cBfADCgWhBakBDakFqwH0AwoFsQWbAQ21Ba4B+AMKBb0FnwENwQWuAfwDCgXFBaEBDckFrgGABAkFzQW0AQ3VBVOEBAoF2QW3AQ3hBa4BiAQHBeUFugEJAIwEBwXtBbwBCQGQBAcF9QW+AQkBlAQHBf0FwAEJAZgEBwWFBsIBCQGcBAcFjQbEAQkBoAQKBZUGxgENnQbIAaQECgWlBsoBDa0GzAGoBAoFtQbOAQ29BtABrAQKBcUGzgENyQbTAbAECgXRBr4BDckG0wG0BAoF1Qa6AQ3ZBtcBuAQKBeEGwAEN2QbXAbwECgXlBsIBDekG2wHABAoFjQbEAQ3xBt0BxAQKBfkG3wENgQfhAcgECgWJB7oBDY0H5AHMBAoFlQfKAQ2ZB+QB0AQKBZ0HwAENoQfkAdQECgWlB8YBDakH5AHYBAYBAa0H7AHcBAYBAbUH7AHgBAYBAbkH7AHkBAQBAgEE7gRTQWx0dWEuT2FrLkNvcmUuTW9kaWZpY2F0aW9uLlN0eWxpbmcuQWxsVmFsdWVBeGlzQ3VzdG9taXphdGlvblRhcmdldCwgQWx0dWEuT2FrLkNvcmXpBJsBAPYEWUFsdHVhLk9hay5Db3JlLk1vZGlmaWNhdGlvbi5TdHlsaW5nLlZhbHVlQXhpc0dyaWRsaW5lc0N1c3RvbWl6YXRpb25UYXJnZXQsIEFsdHVhLk9hay5Db3Jl8QSdAQD+BFNBbHR1YS5PYWsuQ29yZS5Nb2RpZmljYXRpb24uU3R5bGluZy5DYXRlZ29yeUF4aXNDdXN0b21pemF0aW9uVGFyZ2V0LCBBbHR1YS5PYWsuQ29yZfkEnwEAhgVQQWx0dWEuT2FrLkNvcmUuTW9kaWZpY2F0aW9uLlN0eWxpbmcuT3JpZ29MaW5lQ3VzdG9taXphdGlvblRhcmdldCwgQWx0dWEuT2FrLkNvcmWBBaEBAI4FXUFsdHVhLk9hay5Db3JlLk1vZGlmaWNhdGlvbi5TdHlsaW5nLkFsbENvbm5lY3RvcnNBdXhpbGlhcnlDdXN0b21pemF0aW9uVGFyZ2V0LCBBbHR1YS5PYWsuQ29yZYkFowEAlgVZQWx0dWEuT2FrLkNvcmUuTW9kaWZpY2F0aW9uLlN0eWxpbmcuU2VyaWVzV2l0aFBsb3RLaW5kQ3VzdG9taXphdGlvblRhcmdldCwgQWx0dWEuT2FrLkNvcmWRBaUBAwW8B5kFowEAnAUFDAMFwAemBVZBbHR1YS5PYWsuQ29yZS5Nb2RpZmljYXRpb24uU3R5bGluZy5BbGxTZXJpZXNNYXJrZXJDdXN0b21pemF0aW9uVGFyZ2V0LCBBbHR1YS5PYWsuQ29yZaEFqQEArgU6QWx0dWEuT2FrLkNvcmUuVGhlbWluZy5CaW5kaW5nQ29sb3JQb2ludGVyLCBBbHR1YS5PYWsuQ29yZakFqwEFBcUH8gGxBZsBALoFN0FsdHVhLk9hay5Db3JlLlRoZW1pbmcuUGFnZUNvbG9yUG9pbnRlciwgQWx0dWEuT2FrLkNvcmW1Ba4BBAAACAC9BZ8BAMEFrgEEAAAIAMUFoQEAyQWuAQQAAAgA0gVTQWx0dWEuT2FrLkNvcmUuTW9kaWZpY2F0aW9uLlN0eWxpbmcuQWxsR3JpZGxpbmVzQ3VzdG9taXphdGlvblRhcmdldCwgQWx0dWEuT2FrLkNvcmXNBbQBANUFU4CAgP/eBVBBbHR1YS5PYWsuQ29yZS5Nb2RpZmljYXRpb24uU3R5bGluZy5Db21wb3NpdGVDdXN0b21pemF0aW9uVGFyZ2V0LCBBbHR1YS5PYWsuQ29yZdkFtwEFBAMFzAfhBa4BBAAFCADqBVhBbHR1YS5PYWsuQ29yZS5Nb2RpZmljYXRpb24uU3R5bGluZy5BbGxWYWx1ZUF4aXNMYWJlbEN1c3RvbWl6YXRpb25UYXJnZXQsIEFsdHVhLk9hay5Db3Jl5QW6AQDyBWZBbHR1YS5PYWsuQ29yZS5Nb2RpZmljYXRpb24uU3R5bGluZy5TdGFja2VkQmFyQXV0b21hdGljU2VnbWVudExhYmVsQ3VzdG9taXphdGlvblRhcmdldCwgQWx0dWEuT2FrLkNvcmXtBbwBAPoFVUFsdHVhLk9hay5Db3JlLk1vZGlmaWNhdGlvbi5TdHlsaW5nLkFsbFRvdGFsTGFiZWxzQ3VzdG9taXphdGlvblRhcmdldCwgQWx0dWEuT2FrLkNvcmX1Bb4BAIIGV0FsdHVhLk9hay5Db3JlLk1vZGlmaWNhdGlvbi5TdHlsaW5nLkFsbENhdGVnb3J5TGFiZWxDdXN0b21pemF0aW9uVGFyZ2V0LCBBbHR1YS5PYWsuQ29yZf0FwAEAigZYQWx0dWEuT2FrLkNvcmUuTW9kaWZpY2F0aW9uLlN0eWxpbmcuQWxsQXV4aWxpYXJ5TGFiZWxDdXN0b21pemF0aW9uVGFyZ2V0LCBBbHR1YS5PYWsuQ29yZYUGwgEAkgZYQWx0dWEuT2FrLkNvcmUuTW9kaWZpY2F0aW9uLlN0eWxpbmcuU2VyaWVzTGFiZWxPZlR5cGVDdXN0b21pemF0aW9uVGFyZ2V0LCBBbHR1YS5PYWsuQ29yZY0GxAECAAKaBlhBbHR1YS5PYWsuQ29yZS5Nb2RpZmljYXRpb24uU3R5bGluZy5DYXRlZ29yeUF4aXNUaXRsZUN1c3RvbWl6YXRpb25UYXJnZXQsIEFsdHVhLk9hay5Db3JllQbGAQCiBkZBbHR1YS5PYWsuQ29yZS5QbG90dGluZy5BeGlzVGl0bGVMYWJlbFBsYWNlbWVudE91dHNpZGUsIEFsdHVhLk9hay5Db3JlnQbIAQIAAaoGXUFsdHVhLk9hay5Db3JlLk1vZGlmaWNhdGlvbi5TdHlsaW5nLkFsbFZhbHVlQXhpc1RpdGxlTGFiZWxDdXN0b21pemF0aW9uVGFyZ2V0LCBBbHR1YS5PYWsuQ29yZaUGygEAsgZCQWx0dWEuT2FrLkNvcmUuUGxvdHRpbmcuQXhpc1RpdGxlTGFiZWxQbGFjZW1lbnRGYXIsIEFsdHVhLk9hay5Db3JlrQbMAQIAALoGX0FsdHVhLk9hay5Db3JlLk1vZGlmaWNhdGlvbi5TdHlsaW5nLlNlcmllc0xhYmVsc1dpdGhQbG90S2luZEN1c3RvbWl6YXRpb25UYXJnZXQsIEFsdHVhLk9hay5Db3JltQbOAQUF0AcIAMIGPEFsdHVhLk9hay5Db3JlLlBsb3R0aW5nLkxhYmVsUGxhY2VtZW50SW5zaWRlLCBBbHR1YS5PYWsuQ29yZb0G0AEEAAEIAcUGzgEFBdQHCADOBj1BbHR1YS5PYWsuQ29yZS5QbG90dGluZy5MYWJlbFBsYWNlbWVudE91dHNpZGUsIEFsdHVhLk9hay5Db3JlyQbTAQDRBr4BANUGugEA3gZBQWx0dWEuT2FrLkNvcmUuUGxvdHRpbmcuQXhpc0xhYmVsUGxhY2VtZW50T3V0c2lkZSwgQWx0dWEuT2FrLkNvcmXZBtcBAgEA4QbAAQDlBsIBAO4GRkFsdHVhLk9hay5Db3JlLlBsb3R0aW5nLkF1eGlsaWFyeUxhYmVsUGxhY2VtZW50RGVmYXVsdCwgQWx0dWEuT2FrLkNvcmXpBtsBAPYGQ0FsdHVhLk9hay5Db3JlLlBsb3R0aW5nLkxhYmVsUGxhY2VtZW50U2VyaWVzT3V0c2lkZSwgQWx0dWEuT2FrLkNvcmXxBt0BAgAA/gZQQWx0dWEuT2FrLkNvcmUuTW9kaWZpY2F0aW9uLlN0eWxpbmcuQWxsTGFiZWxzQ3VzdG9taXphdGlvblRhcmdldCwgQWx0dWEuT2FrLkNvcmX5Bt8BAIYHQkFsdHVhLk9hay5Db3JlLlN5bnRheFN0cnVjdHVyZS5BY3R1YWxGb250U2l6ZVZhbHVlLCBBbHR1YS5PYWsuQ29yZYEH4QEJAwAAAAAAAChAiQe6AQCSB0NBbHR1YS5PYWsuQ29yZS5TeW50YXhTdHJ1Y3R1cmUuQWN0dWFsRm9udENvbG9yVmFsdWUsIEFsdHVhLk9hay5Db3JljQfkAQUF2QeuAZUHygEAmQfkAQUF3QeuAZ0HwAEAoQfkAQUF4QeuAaUHxgEAqQfkAQUF5QeuAbIHL0FsdHVhLkRhdGEuSW5mcmFzdHJ1Y3R1cmUuUGFyYWdyYXBoLCBBbHR1YS5EYXRhrQfsAQUMAwXoB7UH7AEFDAMF7Ae5B+wBBQwDBfAHvAcBBcAHCgECAACAQAAAQEDKB0hBbHR1YS5PYWsuQ29yZS5TeW50YXhTdHJ1Y3R1cmUuUGxvdFNlcmllc0JpbmRpbmdTdHJhdGVneSwgQWx0dWEuT2FrLkNvcmXFB/IBAMwHEgEE9Qf+Af0H/gGBCP4BhQj+AdAHAgAB1AcBBdkHrgEEAAAIAN0HrgEEAAAIAOEHrgEEAAAIAOUHrgEEAAAIAOgHBgEBiQiDAuwHBgEBkQiDAvAHBgEBlQiDAvoHUEFsdHVhLk9hay5Db3JlLk1vZGlmaWNhdGlvbi5TdHlsaW5nLkRhdGFQb2ludEN1c3RvbWl6YXRpb25UYXJnZXQsIEFsdHVhLk9hay5Db3Jl9Qf+ASgEEgQQ3hL/oLfjmVGNga5GutPNVQwSBBDBPJcH4o6HSbczEFp7qALw/Qf+ASgEEgQQ3hL/oLfjmVGNga5GutPNVQwSBBASNEZYcHxDQZqYZoH2d5DNgQj+ASgEEgQQ3hL/oLfjmVGNga5GutPNVQwSBBACv/K8OHggSphndeIGMvgXhQj+ASgEEgQQ3hL/oLfjmVGNga5GutPNVQwSBBC2eXxy0EHyUKp5dbmyumSbjggvQWx0dWEuRGF0YS5JbmZyYXN0cnVjdHVyZS5OdW1iZXJSdW4sIEFsdHVhLkRhdGGJCIMCEwQOAwAAAAAAoJ9AHZkIhwINoAiRCIMCEwQOAwAAAAAAnJ9AHaUIhwINqAiVCIMCEwQOAwAAAAAAlJ9AHa0IhwINsAieCD1BbHR1YS5EYXRhLk51bWJlckZvcm1hdHRpbmcuQ29tcG9zaXRlTnVtYmVyRm9ybWF0LCBBbHR1YS5EYXRhmQiHAgsdtAgluAg1vAg9AKAIEgQAHAAkACwANAA8AEwAVABdAKUIhwILHcAIJcQINcgIPQCoCBIEABwAJAAsADQAPABMAFQAXQCtCIcCCx3MCCXQCDXUCD0AsAgSBAAcACQALAA0ADwATABUAF0AtAgJAAAMAwXYCBEAuAgJAAAMAwXcCBEAvAgKBAEsDAEuFAJrcsAICQAADAMF4AgRAMQICQAADAMF5AgRAMgICgQBLAwBLhQCa3LMCAkAAAwDBegIEQDQCAkAAAwDBewIEQDUCAoEASwMAS4UAmty2AgGAQHxCJ0C3AgKAQL5CJ8C8QidAuAIBgEBgQmdAuQICgEChQmfAoEJnQLoCAYBAYkJnQLsCAoBAo0JnwKJCZ0C9ghAQWx0dWEuRGF0YS5OdW1iZXJGb3JtYXR0aW5nLk51bWJlckZvcm1hdFZhbHVlU2VnbWVudCwgQWx0dWEuRGF0YfEInQIFBAMFkAn+CD9BbHR1YS5EYXRhLk51bWJlckZvcm1hdHRpbmcuTnVtYmVyRm9ybWF0VGV4dFNlZ21lbnQsIEFsdHVhLkRhdGH5CJ8CBQQBLQkBgQmdAgUEAwWUCYUJnwIFBAEtCQGJCZ0CBQQDBZgJjQmfAgUEAS0JAZAJBgEBnQmoApQJBgEBpQmoApgJBgEBqQmoAqIJOUFsdHVhLkRhdGEuTnVtYmVyRm9ybWF0dGluZy5OdW1iZXJQbGFjZWhvbGRlciwgQWx0dWEuRGF0YZ0JqAIFAjAAAAClCagCBQIwAAAAqQmoAgUCMAAAAA=="/>
  <p:tag name="GRUNT-X-SHAPEBOUNDS" val="ASIBBAAAAKCPF39AAAAA4PLFdkAAAAAApWd6QAAAAEAyOl5AAA=="/>
  <p:tag name="GRUNT-RENDERHASH" val="d3ff51205aeb9219414572823c863c15-sv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DwmfjLQUeXIB44PASY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SHAPEBOUNDS" val="ASIBBAAAAKAbuEBAAAAAQKalYkAAAACAGil+QAAAAKDeDnZAAA=="/>
  <p:tag name="GRUNT-X-PAGEOBJECT" val="AQUC6TQKOEFsdHVhLk9hay5Db3JlLkRvY3VtZW50TW9kZWwuQ2hhcnRPYmplY3QsIEFsdHVhLk9hay5Db3JlBQI1BBIEELRe5eTwbopIs8krQ+jgLj0MEgQQ/ODT7yOt7kamFWFG58CR2xUNBCUUNRg9HFUgZSQSUEFsdHVhLk9hay5Db3JlLkRvY3VtZW50TW9kZWwuVGVtcGxhdGluZy5DdXN0b21Qb3NpdGlvbkRlZmluaXRpb24sIEFsdHVhLk9hay5Db3JlDQQkBCIBBPz///+0hWRAeHf/NaatYkACAADAJAh1QEZEAKXeBnZAFBMVKB0sNTA4AEU1DlU8XUBkAgVEGAQEAgVIHAIFTCALBVAMBW5iLU5PFVQkEAEBCQERARkBIQEpATEBOQAoFgQSBBAAAAAAAAAAAAAAAAAAAAAACAEsFgQSBBAAAAAAAAAAAAAAAAAAAAAACAEwADpHQWx0dWEuT2FrLkNvcmUuQ2hhcnQuQ2x1c3RlcmVkQmFyV2l0aExpbmVQbG90RGVmaW5pdGlvbiwgQWx0dWEuT2FrLkNvcmU1DjUEEgQQa43rWSRm50upomXWuk1j/RwCBVglXDVgPAIFZEkAbWiNAWylAXC1AXUeuQEAxQF9IDwFBYQBDQBABAEACQBECgEEiAGMAZABlAFIAgEATABQCgQBLAwBIBQCa3JUCQQFbmItTk8IAVgEAQGYAVwNAAAIARQDBZwBHAAlAGAmBCIBBAAAAAAAABBAAAAAAAAAEEAAAAAAAAAQQAAAAAAAABBACARkAgEAaAsDAAAAAACATUAIIGwLAwAAAAAAABRACCBwSjWgAT2kAUWoAVWsAV2wAXW0AY0BuAGdAbwBpQHAAa0BxAHNAcgB1QHMAd0B0AHlAdQB7QHYAfUB3AH9AeABhQLkAY0C6AGVAuwBekVBbHR1YS5PYWsuQ29yZS5QbG90dGluZy5BdXRvbWF0aWNDYXRlZ29yeUF4aXNTZXR0aW5ncywgQWx0dWEuT2FrLkNvcmV1HhMBAQ3wARAAGQEwAD30AUX4AUgBggE9QWx0dWEuT2FrLkNvcmUuVGhlbWluZy5QYWdlQ29sb3JTY2hlbWVQb2ludGVyLCBBbHR1YS5PYWsuQ29yZX0gAIQBFvwBgAKEAogCjAKQApQCmAKcAqACpAKIAUgEEgQQOa6hS2PnK1Gv94eZJj3pqAwSBBCN/0sZqRVRQLJ4A4Zj5sVUFagCHBIEEOjcGhWyCfxHkHpCy/xxYFskAC2sAjWxAk2MAUgEEgQQ3hL/oLfjmVGNga5GutPNVQwSBBCN/0sZqRVRQLJ4A4Zj5sVUFbgCHBIEEPksWf79329Fuf5n0yPSqyMkAC28AjWxAk2QAUgEEgQQn1O4uUOy5k2Ko54KQKJq0gwSBBCN/0sZqRVRQLJ4A4Zj5sVUFcACHBIEEBf31Pv65EtCozBEHuoK3sMkAC3EAjWxAk2UAUgEEgQQRnS8aADBQUq8i1k+LqBo4gwSBBCN/0sZqRVRQLJ4A4Zj5sVUFcgCHBIEEIjN3Yv0MxNDtrDVH0nCIb4kAC3MAjXRAk2YAUIBABgDJdQCKQAxAEADSAJV2AJd3AJkEgQQjf9LGakVUUCyeAOGY+bFVG3gAnXkAo0B6AKRAQGdAewCpQHwArUB9AKcAQIBAKABBQQDBfgCpAEFBAMF/AKoAQUEAwWAA6wBBQQDBYQDsAEFBAMF+AK0AQUEAwX4ArgBBQQDBYgDvAEFBAMFjAPAAQUEAwWQA8QBBQQDBZQDyAEFBAMFmAPMAQUEAwWcA9ABBQQDBaAD1AEFBAMFpAPYAQUEAwWoA9wBBQQDBawD4AEFBAMFsAPkAQUEAwW0A+gBBQQDBbgD7AEFBAMFvAPwAQIBAPQBBgXBA3EIBPgBBgXJA3EIBPwBKwQSBBC2eXxy0EHyUKp5dbmyumSbDBIEEB/rjDimIctLiTIXQgTfWDQcAQGAAisEEgQQrfGRoxqCdV+4daZv8AfmjQwSBBB1npiRXEMrR4CNoMsd75TjHAEBhAIrBBIEEBSBN9r8Y2RWul1CCKzVv/AMEgQQM3YuVsqsz0O4n/jX90PyIhwBAYgCKwQSBBB3YzC6NspAVLPfKOdMpzKXDBIEEFmfYeZYkT9IhCqevPceZUYcAQGMAisEEgQQPUNl9mfZ11aek/af0BOCQgwSBBDk8iexzvF6Q5k1eqa4h8NSHAEBkAIrBBIEEIP7inL2cPxAoFMoUXqiFq4MEgQQm/M3zPYwGE+mf4EZY82/qhwBAZQCKwQSBBBSncd3Y1B/RoqunDrlDS1YDBIEEL8E3OUbTVpLrclPlXwJRNUcAQGYAisEEgQQlwVwbPHZ+k2bHFl6ry2E9QwSBBAdBYUxHPtORKK1lO9EzwvOHAEBnAIrBBIEEGtJ37dzL2hPqnew1kFQDesMEgQQ+9G3b3jUo0+01sDjCc17SRwBAaACKwQSBBDiKR+ydorgS4lT9+amyLG5DBIEEOgCaYiSxWlHhZyZ2nlSP34cAQGkAisEEgQQQCreSZDAnEqcHw+Ubsix0wwSBBDaXjv7RxM+TLSXjY1wzLcIHAEBqAIFBcwDCAGsAgQFAAgBtgI+QWx0dWEuT2FrLkNvcmUuQ2hhcnQuRGVmYXVsdFBsb3RTZXJpZXNTZXR0aW5ncywgQWx0dWEuT2FrLkNvcmWxAk0AuAIFBdADCAG8AgQFAAgBwAIFBdQDCAHEAgQFAAgByAIEBQAIAcwCBAUACAHRAk0A1AILAwAAAAAAAAAACALYAgsDAAAAAAAAAAAIAdwCCwMAAAAAAAAAAAgB4AIVBdgDDdwDFeADHeQDJegDLewDNfAD5AIHDfQDFfkDcegCCwMAAAAAAAAAAAgE7AIGBf0DcQgE8AIGBf0DcQgE9AIFBAMFgAT4AgIBAPwCDgEGhASIBIwEkASUBJgEgAMEAQGcBIQDAgEAiAMCAQCMAwIBAJADEgEIoASkBKgErASwBLQEuAS8BJQDAgEAmAMOAQbABMQEyATMBNAE1AScAxABB9gE3ATgBOQE6ATsBPAEoAMCAQCkAwQBAfQEqAMKAQT4BPwEgAWEBawDAgEAsAMCAQC0AwIBALgDCAEDiAWMBZAFvAMCAQDGAzNBbHR1YS5PYWsuQ29yZS5UaGVtaW5nLkNvbG9yUG9pbnRlciwgQWx0dWEuT2FrLkNvcmXBA3FQUFD/yQNxUFBQ/8wDBQQDBZQF0AMFBAMFmAXUAwUEAwWcBdgDBwQDBAEACATcAwUEAS4IBOADBAABCATkAwQAAAgE6AMEBAAIBOwDBAQACATwAwQAAAgE9AMFBAMFoAX5A3E+PuX//QNxUFBQ/4AEAgEAhAQOBaUFqgELAAAAAAAAAACIBA4FrQWsAQsAAAAAAAAAAIwEDgW1Ba4BCwAAAAAAAOA/kAQOBb0FsAELAAAAAAAA4D+UBA4FxQWyAQsAAAAAAADgP5gEDgXNBbQBCwAAAAAAAPg/nAQIBdUFsgEN2AWgBAoF3QW4AQ3lBboBpAQKBe0FqgEN8QW9AagECgX5Ba4BDf0FvQGsBAoFgQawAQ2FBr0BsAQJBYkGwwENkQZxtAQKBZUGxgENnQa9AbgECQWhBsYBDaUGcbwECgWpBsYBDa0GvQHABAcFsQbNAQkBxAQHBbkGzwEJAMgEBwXBBs0BCQHMBAcFxQbSAQkB0AQHBc0G1AEJAdQEBwXVBtYBCQHYBAoF3QbYAQ3lBtoB3AQKBe0G3AEN9QbeAeAECgX9BuABDYUH4gHkBAoFjQfgAQ2FB+IB6AQKBZEHzwENlQfmAewECgWdB9QBDZUH5gHwBAoFoQfWAQ2lB+oB9AQKBa0H7AENtQfuAfgECgW9B88BDcEH8QH8BAoFyQfcAQ3NB/EBgAUKBdEH1AEN1QfxAYQFCgXZB9gBDd0H8QGIBQoF4QfNAQ3lB/oBjAUKBe0H0gEN8Qf6AZAFCgX1B6oBDfkH+gGUBQYBAf0HgAKYBQYBAYUIgAKcBQYBAYkIgAKgBQQBAgEEqgVTQWx0dWEuT2FrLkNvcmUuTW9kaWZpY2F0aW9uLlN0eWxpbmcuQWxsVmFsdWVBeGlzQ3VzdG9taXphdGlvblRhcmdldCwgQWx0dWEuT2FrLkNvcmWlBaoBALIFWUFsdHVhLk9hay5Db3JlLk1vZGlmaWNhdGlvbi5TdHlsaW5nLlZhbHVlQXhpc0dyaWRsaW5lc0N1c3RvbWl6YXRpb25UYXJnZXQsIEFsdHVhLk9hay5Db3JlrQWsAQC6BVNBbHR1YS5PYWsuQ29yZS5Nb2RpZmljYXRpb24uU3R5bGluZy5DYXRlZ29yeUF4aXNDdXN0b21pemF0aW9uVGFyZ2V0LCBBbHR1YS5PYWsuQ29yZbUFrgEAwgVQQWx0dWEuT2FrLkNvcmUuTW9kaWZpY2F0aW9uLlN0eWxpbmcuT3JpZ29MaW5lQ3VzdG9taXphdGlvblRhcmdldCwgQWx0dWEuT2FrLkNvcmW9BbABAMoFXUFsdHVhLk9hay5Db3JlLk1vZGlmaWNhdGlvbi5TdHlsaW5nLkFsbENvbm5lY3RvcnNBdXhpbGlhcnlDdXN0b21pemF0aW9uVGFyZ2V0LCBBbHR1YS5PYWsuQ29yZcUFsgEA0gVZQWx0dWEuT2FrLkNvcmUuTW9kaWZpY2F0aW9uLlN0eWxpbmcuU2VyaWVzV2l0aFBsb3RLaW5kQ3VzdG9taXphdGlvblRhcmdldCwgQWx0dWEuT2FrLkNvcmXNBbQBAwWMCNUFsgEA2AUFDAMFkAjiBVZBbHR1YS5PYWsuQ29yZS5Nb2RpZmljYXRpb24uU3R5bGluZy5BbGxTZXJpZXNNYXJrZXJDdXN0b21pemF0aW9uVGFyZ2V0LCBBbHR1YS5PYWsuQ29yZd0FuAEA6gU6QWx0dWEuT2FrLkNvcmUuVGhlbWluZy5CaW5kaW5nQ29sb3JQb2ludGVyLCBBbHR1YS5PYWsuQ29yZeUFugEFBZUIhgLtBaoBAPYFN0FsdHVhLk9hay5Db3JlLlRoZW1pbmcuUGFnZUNvbG9yUG9pbnRlciwgQWx0dWEuT2FrLkNvcmXxBb0BBAAACAD5Ba4BAP0FvQEEAAAIAIEGsAEAhQa9AQQAAAgAjgZTQWx0dWEuT2FrLkNvcmUuTW9kaWZpY2F0aW9uLlN0eWxpbmcuQWxsR3JpZGxpbmVzQ3VzdG9taXphdGlvblRhcmdldCwgQWx0dWEuT2FrLkNvcmWJBsMBAJEGcYCAgP+aBk1BbHR1YS5PYWsuQ29yZS5Nb2RpZmljYXRpb24uU3R5bGluZy5TZXJpZXNDdXN0b21pemF0aW9uVGFyZ2V0LCBBbHR1YS5PYWsuQ29yZZUGxgEUBBIEEJ9TuLlDsuZNiqOeCkCiatKdBr0BBAAJCAChBsYBFAQSBBA5rqFLY+crUa/3h5kmPemopQZx/6Ev/6kGxgEUBBIEEN4S/6C345lRjYGuRrrTzVWtBr0BBAAFCAC2BlhBbHR1YS5PYWsuQ29yZS5Nb2RpZmljYXRpb24uU3R5bGluZy5TZXJpZXNMYWJlbE9mVHlwZUN1c3RvbWl6YXRpb25UYXJnZXQsIEFsdHVhLk9hay5Db3JlsQbNAQIAAr4GWEFsdHVhLk9hay5Db3JlLk1vZGlmaWNhdGlvbi5TdHlsaW5nLkFsbFZhbHVlQXhpc0xhYmVsQ3VzdG9taXphdGlvblRhcmdldCwgQWx0dWEuT2FrLkNvcmW5Bs8BAMEGzQECAADKBlVBbHR1YS5PYWsuQ29yZS5Nb2RpZmljYXRpb24uU3R5bGluZy5BbGxUb3RhbExhYmVsc0N1c3RvbWl6YXRpb25UYXJnZXQsIEFsdHVhLk9hay5Db3JlxQbSAQDSBldBbHR1YS5PYWsuQ29yZS5Nb2RpZmljYXRpb24uU3R5bGluZy5BbGxDYXRlZ29yeUxhYmVsQ3VzdG9taXphdGlvblRhcmdldCwgQWx0dWEuT2FrLkNvcmXNBtQBANoGWEFsdHVhLk9hay5Db3JlLk1vZGlmaWNhdGlvbi5TdHlsaW5nLkFsbEF1eGlsaWFyeUxhYmVsQ3VzdG9taXphdGlvblRhcmdldCwgQWx0dWEuT2FrLkNvcmXVBtYBAOIGWEFsdHVhLk9hay5Db3JlLk1vZGlmaWNhdGlvbi5TdHlsaW5nLkNhdGVnb3J5QXhpc1RpdGxlQ3VzdG9taXphdGlvblRhcmdldCwgQWx0dWEuT2FrLkNvcmXdBtgBAOoGQkFsdHVhLk9hay5Db3JlLlBsb3R0aW5nLkF4aXNUaXRsZUxhYmVsUGxhY2VtZW50RmFyLCBBbHR1YS5PYWsuQ29yZeUG2gECAADyBl1BbHR1YS5PYWsuQ29yZS5Nb2RpZmljYXRpb24uU3R5bGluZy5BbGxWYWx1ZUF4aXNUaXRsZUxhYmVsQ3VzdG9taXphdGlvblRhcmdldCwgQWx0dWEuT2FrLkNvcmXtBtwBAPoGRkFsdHVhLk9hay5Db3JlLlBsb3R0aW5nLkF4aXNUaXRsZUxhYmVsUGxhY2VtZW50T3V0c2lkZSwgQWx0dWEuT2FrLkNvcmX1Bt4BAgABggdfQWx0dWEuT2FrLkNvcmUuTW9kaWZpY2F0aW9uLlN0eWxpbmcuU2VyaWVzTGFiZWxzV2l0aFBsb3RLaW5kQ3VzdG9taXphdGlvblRhcmdldCwgQWx0dWEuT2FrLkNvcmX9BuABBQWcCAgAigc9QWx0dWEuT2FrLkNvcmUuUGxvdHRpbmcuTGFiZWxQbGFjZW1lbnRPdXRzaWRlLCBBbHR1YS5PYWsuQ29yZYUH4gEAjQfgAQUFoAgIAJEHzwEAmgdBQWx0dWEuT2FrLkNvcmUuUGxvdHRpbmcuQXhpc0xhYmVsUGxhY2VtZW50T3V0c2lkZSwgQWx0dWEuT2FrLkNvcmWVB+YBAgEAnQfUAQChB9YBAKoHRkFsdHVhLk9hay5Db3JlLlBsb3R0aW5nLkF1eGlsaWFyeUxhYmVsUGxhY2VtZW50RGVmYXVsdCwgQWx0dWEuT2FrLkNvcmWlB+oBALIHUEFsdHVhLk9hay5Db3JlLk1vZGlmaWNhdGlvbi5TdHlsaW5nLkFsbExhYmVsc0N1c3RvbWl6YXRpb25UYXJnZXQsIEFsdHVhLk9hay5Db3JlrQfsAQC6B0JBbHR1YS5PYWsuQ29yZS5TeW50YXhTdHJ1Y3R1cmUuQWN0dWFsRm9udFNpemVWYWx1ZSwgQWx0dWEuT2FrLkNvcmW1B+4BCQMAAAAAAAAkQL0HzwEAxgdDQWx0dWEuT2FrLkNvcmUuU3ludGF4U3RydWN0dXJlLkFjdHVhbEZvbnRDb2xvclZhbHVlLCBBbHR1YS5PYWsuQ29yZcEH8QEFBaUIvQHJB9wBAM0H8QEFBakIvQHRB9QBANUH8QEFBa0IvQHZB9gBAN0H8QEFBbEIvQHhB80BAgAA6gdGQWx0dWEuT2FrLkNvcmUuU3ludGF4U3RydWN0dXJlLkFjdHVhbE51bWJlckZvcm1hdFZhbHVlLCBBbHR1YS5PYWsuQ29yZeUH+gEFBbUIjgLtB9IBAPEH+gEFBbUIjgL1B6oBAPkH+gEFBbUIjgKCCC9BbHR1YS5EYXRhLkluZnJhc3RydWN0dXJlLlBhcmFncmFwaCwgQWx0dWEuRGF0Yf0HgAIFDAMFvAiFCIACBQwDBcAIiQiAAgUMAwXECIwIAQWQCAoBAgAAgEAAAEBAmghIQWx0dWEuT2FrLkNvcmUuU3ludGF4U3RydWN0dXJlLlBsb3RTZXJpZXNCaW5kaW5nU3RyYXRlZ3ksIEFsdHVhLk9hay5Db3JllQiGAgCcCAIJCqAIAQWlCL0BBAAACACpCL0BBAAACACtCL0BBAAACACxCL0BBAAACAC6CD1BbHR1YS5EYXRhLk51bWJlckZvcm1hdHRpbmcuQ29tcG9zaXRlTnVtYmVyRm9ybWF0LCBBbHR1YS5EYXRhtQiOAgodyAglzAg1UD0AvAgGAQHRCJUCwAgGAQHZCJUCxAgGAQHdCJgCyAgJAAAMAwXkCBEAzAgJAAAMAwXoCBEA1ggvQWx0dWEuRGF0YS5JbmZyYXN0cnVjdHVyZS5OdW1iZXJSdW4sIEFsdHVhLkRhdGHRCJUCEwQOAwAAAAAAoJ9AHe0IjgIN8AjZCJUCEwQOAwAAAAAAnJ9AHe0IjgIN8AjiCC1BbHR1YS5EYXRhLkluZnJhc3RydWN0dXJlLlRleHRSdW4sIEFsdHVhLkRhdGHdCJgCCgQFTm9yZ2UN9AjkCAYBAfkInwLoCAoBAoEJoQKJCZ8C7QiOAgsdjAklkAk1lAk9APAIEgQAHAAkACwANAA8AEwAVABdAPQIEgQAHAAkACwANAA8AEwAVABdAP4IQEFsdHVhLkRhdGEuTnVtYmVyRm9ybWF0dGluZy5OdW1iZXJGb3JtYXRWYWx1ZVNlZ21lbnQsIEFsdHVhLkRhdGH5CJ8CBQQDBZgJhgk/QWx0dWEuRGF0YS5OdW1iZXJGb3JtYXR0aW5nLk51bWJlckZvcm1hdFRleHRTZWdtZW50LCBBbHR1YS5EYXRhgQmhAgUEAS0JAYkJnwIFBAMFnAmMCQkAAAwDBaAJEQCQCQkAAAwDBaQJEQCUCQoEASwMAS4UAmtymAkGAQGpCasCnAkGAQGpCasCoAkGAQGxCa0CpAkKAQK5CaECvQmtAq4JOUFsdHVhLkRhdGEuTnVtYmVyRm9ybWF0dGluZy5OdW1iZXJQbGFjZWhvbGRlciwgQWx0dWEuRGF0YakJqwIFAjAAAAC2CUJBbHR1YS5EYXRhLk51bWJlckZvcm1hdHRpbmcuTnVtYmVyRm9ybWF0R2VuZXJhbFNlZ21lbnQsIEFsdHVhLkRhdGGxCa0CALkJoQIFBAEtCQG9Ca0CAA=="/>
  <p:tag name="GRUNT-RENDERHASH" val="2f544350a1ec4ab7e1226beafa299a71-svg"/>
  <p:tag name="GRUNT-X-DATASERVICE" val="AQUCjjkKN0FsdHVhLkRhdGEuRGF0YVNlcnZpY2VzLkVtYmVkZGVkRGF0YVNlcnZpY2UsIEFsdHVhLkRhdGEFAhkEEgQQ/ODT7yOt7kamFWFG58CR2w0MJREFDAYFGAgSEAgWQUFsdHVhLkRhdGEuRGF0YVNlcnZpY2VzLkVtYmVkZGVkRGF0YVNlcnZpY2VFZGl0b3JEYXRhLCBBbHR1YS5EYXRhEQUEBRwNIBgGBSQNKBUsHDwdBBIEENNz8cQb9wFOoDLwDWItJDkLAAAAAAAAHEAdBBIEEB/rjDimIctLiTIXQgTfWDQLAAAAAAAgYkAgWh0EEgQQBbe507cO9EmRZBhNRm5FrAsAAAAAAAAyQB0EEgQQhB+R4huFNUGwuFZrPUlJDwsAAAAAAAAyQB0EEgQQiM3di/QzE0O2sNUfScIhvgsAAAAAAAAyQCQMMDQ4PEBESExQVFhcKARgZGhsLJwRLAQoBBIEEFmfYeZYkT9IhCqevPceZUYMEgQQF/fU+/rkS0KjMEQe6greww1wLAQoBBIEENpeO/tHEz5MtJeNjXDMtwgMEgQQ6NwaFbIJ/EeQekLL/HFgWw10LAQoBBIEENpeO/tHEz5MtJeNjXDMtwgMEgQQF/fU+/rkS0KjMEQe6greww14LAQoBBIEEDN2LlbKrM9DuJ/41/dD8iIMEgQQF/fU+/rkS0KjMEQe6greww18LQQoBBIEENqNKxB7T5pMmUYr804v+BwMEgQQX5eQl8Rau0KbEDAGcU7FWQ2AAS0EKAQSBBDk8iexzvF6Q5k1eqa4h8NSDBIEEPksWf79329Fuf5n0yPSqyMNhAEtBCgEEgQQdZ6YkVxDK0eAjaDLHe+U4wwSBBBfl5CXxFq7QpsQMAZxTsVZDYgBLQQoBBIEEPvRt2941KNPtNbA4wnNe0kMEgQQX5eQl8Rau0KbEDAGcU7FWQ2MAS0EKAQSBBAf64w4piHLS4kyF0IE31g0DBIEEOjcGhWyCfxHkHpCy/xxYFsNkAEtBCgEEgQQM3YuVsqsz0O4n/jX90PyIgwSBBBfl5CXxFq7QpsQMAZxTsVZDZQBLQQoBBIEEB/rjDimIctLiTIXQgTfWDQMEgQQX5eQl8Rau0KbEDAGcU7FWQ2YAS0EKAQSBBAzdi5WyqzPQ7if+Nf3Q/IiDBIEEOjcGhWyCfxHkHpCy/xxYFsNnAEtBCgEEgQQWZ9h5liRP0iEKp689x5lRgwSBBBfl5CXxFq7QpsQMAZxTsVZDaABLQQoBBIEEL8E3OUbTVpLrclPlXwJRNUMEgQQF/fU+/rkS0KjMEQe6greww2kAS0EKAQSBBC/BNzlG01aS63JT5V8CUTVDBIEEPksWf79329Fuf5n0yPSqyMNqAEtBCgEEgQQ+9G3b3jUo0+01sDjCc17SQwSBBDo3BoVsgn8R5B6Qsv8cWBbDawBLQQoBBIEEPvRt2941KNPtNbA4wnNe0kMEgQQF/fU+/rkS0KjMEQe6greww2wAS0EKAQSBBAf64w4piHLS4kyF0IE31g0DBIEEBf31Pv65EtCozBEHuoK3sMNtAEtBCgEEgQQvwTc5RtNWkutyU+VfAlE1QwSBBBfl5CXxFq7QpsQMAZxTsVZDbgBLQQoBBIEENqNKxB7T5pMmUYr804v+BwMEgQQ+SxZ/v3fb0W5/mfTI9KrIw28AS0EKAQSBBAdBYUxHPtORKK1lO9EzwvODBIEEPksWf79329Fuf5n0yPSqyMNwAEtBCgEEgQQdZ6YkVxDK0eAjaDLHe+U4wwSBBD5LFn+/d9vRbn+Z9Mj0qsjDcQBLQQoBBIEEB0FhTEc+05EorWU70TPC84MEgQQX5eQl8Rau0KbEDAGcU7FWQ3IAS0EKAQSBBDk8iexzvF6Q5k1eqa4h8NSDBIEEBf31Pv65EtCozBEHuoK3sMNzAEtBCgEEgQQWZ9h5liRP0iEKp689x5lRgwSBBDo3BoVsgn8R5B6Qsv8cWBbDdABLQQoBBIEENqNKxB7T5pMmUYr804v+BwMEgQQF/fU+/rkS0KjMEQe6greww3UAS0EKAQSBBAdBYUxHPtORKK1lO9EzwvODBIEEOjcGhWyCfxHkHpCy/xxYFsN2AEtBCgEEgQQ+9G3b3jUo0+01sDjCc17SQwSBBD5LFn+/d9vRbn+Z9Mj0qsjDdwBLQQoBBIEEHWemJFcQytHgI2gyx3vlOMMEgQQF/fU+/rkS0KjMEQe6greww3gAS0EKAQSBBDaXjv7RxM+TLSXjY1wzLcIDBIEEPksWf79329Fuf5n0yPSqyMN5AEtBCgEEgQQHQWFMRz7TkSitZTvRM8LzgwSBBAX99T7+uRLQqMwRB7qCt7DDegBLQQoBBIEEOTyJ7HO8XpDmTV6priHw1IMEgQQ6NwaFbIJ/EeQekLL/HFgWw3sAS0EKAQSBBCb8zfM9jAYT6Z/gRljzb+qDBIEEOjcGhWyCfxHkHpCy/xxYFsN8AEtBCgEEgQQ2l47+0cTPky0l42NcMy3CAwSBBBfl5CXxFq7QpsQMAZxTsVZDfQBLQQoBBIEEOgCaYiSxWlHhZyZ2nlSP34MEgQQ6NwaFbIJ/EeQekLL/HFgWw34AS0EKAQSBBBZn2HmWJE/SIQqnrz3HmVGDBIEEPksWf79329Fuf5n0yPSqyMN/AEtBCgEEgQQ5PInsc7xekOZNXqmuIfDUgwSBBBfl5CXxFq7QpsQMAZxTsVZDYACLQQoBBIEEOgCaYiSxWlHhZyZ2nlSP34MEgQQ+SxZ/v3fb0W5/mfTI9KrIw2EAi0EKAQSBBDoAmmIksVpR4Wcmdp5Uj9+DBIEEF+XkJfEWrtCmxAwBnFOxVkNiAItBCgEEgQQ2o0rEHtPmkyZRivzTi/4HAwSBBDo3BoVsgn8R5B6Qsv8cWBbDYwCLQQoBBIEEJvzN8z2MBhPpn+BGWPNv6oMEgQQX5eQl8Rau0KbEDAGcU7FWQ2QAi0EKAQSBBCb8zfM9jAYT6Z/gRljzb+qDBIEEPksWf79329Fuf5n0yPSqyMNlAItBCgEEgQQH+uMOKYhy0uJMhdCBN9YNAwSBBD5LFn+/d9vRbn+Z9Mj0qsjDZgCLQQoBBIEEDN2LlbKrM9DuJ/41/dD8iIMEgQQ+SxZ/v3fb0W5/mfTI9KrIw2cAi0EKAQSBBC/BNzlG01aS63JT5V8CUTVDBIEEOjcGhWyCfxHkHpCy/xxYFsNoAItBCgEEgQQdZ6YkVxDK0eAjaDLHe+U4wwSBBDo3BoVsgn8R5B6Qsv8cWBbDaQCLQQoBBIEEOgCaYiSxWlHhZyZ2nlSP34MEgQQF/fU+/rkS0KjMEQe6greww2oAi0EKAQSBBCb8zfM9jAYT6Z/gRljzb+qDBIEEBf31Pv65EtCozBEHuoK3sMNrAIwGgQSBBDajSsQe0+aTJlGK/NOL/gcDAJDMRkBNBoEEgQQH+uMOKYhy0uJMhdCBN9YNAwCQzIZATgaBBIEEHWemJFcQytHgI2gyx3vlOMMAkMzGQE8GgQSBBAzdi5WyqzPQ7if+Nf3Q/IiDAJDNBkBQBoEEgQQWZ9h5liRP0iEKp689x5lRgwCQzUZAUQaBBIEEOTyJ7HO8XpDmTV6priHw1IMAkM2GQFIGwQSBBCb8zfM9jAYT6Z/gRljzb+qDANDMTIZAUwbBBIEEL8E3OUbTVpLrclPlXwJRNUMA0MxMxkBUBsEEgQQHQWFMRz7TkSitZTvRM8LzgwDQzE0GQFUGwQSBBD70bdveNSjT7TWwOMJzXtJDANDMTUZAVgbBBIEEOgCaYiSxWlHhZyZ2nlSP34MA0MxNhkBXBsEEgQQ2l47+0cTPky0l42NcMy3CAwDQzE3GQFgGgQSBBBfl5CXxFq7QpsQMAZxTsVZDAJSMRkBZBoEEgQQ6NwaFbIJ/EeQekLL/HFgWwwCUjIZAWgaBBIEEPksWf79329Fuf5n0yPSqyMMAlIzGQFsGgQSBBAX99T7+uRLQqMwRB7qCt7DDAJSNRkBcAYNsAIVtAJ0Bg24AhW8AngGDbgCFcACfAYNsAIVxAKAAQYNyAIVzAKEAQYNyAIV0AKIAQYNyAIV1AKMAQYNuAIV2AKQAQYNyAIV3AKUAQYNyAIV4AKYAQYNyAIV5AKcAQYNyAIV6AKgAQYNyAIV7AKkAQYNuAIV8AKoAQYNuAIV9AKsAQYNuAIV+AKwAQYNuAIV/AK0AQYNsAIVgAO4AQYNuAIVhAO8AQYNyAIViAPAAQYNuAIVjAPEAQYNyAIVkAPIAQYNuAIVlAPMAQYNsAIVmAPQAQYNnAMVoAPUAQYNsAIVpAPYAQYNuAIVqAPcAQYNuAIVrAPgAQYNsAIVsAPkAQYNuAIVtAPoAQYNuAIVuAPsAQYNnAMVvAPwAQYNuAIVwAP0AQYNuAIVxAP4AQYNuAIVyAP8AQYNyAIVzAOAAgYNyAIV0AOEAgYNuAIV1AOIAgYNuAIV2AOMAgYNyAIV3AOQAgYNuAIV4AOUAgYNuAIV5AOYAgYNyAIV6AOcAgYNyAIV7AOgAgYNuAIV8AOkAgYNyAIV9AOoAgYNuAIV+AOsAgYNuAIV/AOwAgIEALQCBQQDBYAEuAICBAC8AgUEAwWEBMACBQQDBYgExAIFBAMFjATIAgIEAMwCBQQDBZAE0AIFBAMFlATUAgUEAwWYBNgCBQQDBZwE3AIFBAMFoATgAgUEAwWkBOQCBQQDBagE6AIFBAMFrATsAgUEAwWwBPACBQQDBbQE9AIFBAMFuAT4AgUEAwW8BPwCBQQDBcAEgAMFBAMFxASEAwUEAwXIBIgDBQQDBcwEjAMFBAMF0ASQAwUEAwXUBJQDBQQDBdgEmAMFBAMF3AScAwIEAKADBQQDBeAEpAMFBAMF5ASoAwUEAwXoBKwDBQQDBewEsAMFBAMF8AS0AwUEAwX0BLgDBQQDBfgEvAMFBAMF/ATAAwUEAwWABcQDBQQDBYQFyAMFBAMFiAXMAwUEAwWMBdADBQQDBZAF1AMFBAMFlAXYAwUEAwWYBdwDBQQDBZwF4AMFBAMFoAXkAwUEAwWkBegDBQQDBagF7AMFBAMFrAXwAwUEAwWwBfQDBQQDBbQF+AMFBAMFuAX8AwUEAwW8BYAEBgEBwQWxAYQEBgEByQWxAYgEBgEBzQWxAYwEBgEB0QWxAZAEAgEAlAQGAQHVBbEBmAQGAQHZBbEBnAQGAQHdBbEBoAQGAQHhBbEBpAQGAQHlBbEBqAQGAQHpBbEBrAQGAQHtBbEBsAQGAQHxBbEBtAQGAQH1BbEBuAQGAQH5BbEBvAQGAQH9BbEBwAQGAQGBBrEBxAQGAQGFBrEByAQGAQGJBrEBzAQGAQGNBrEB0AQGAQGRBrEB1AQGAQGVBrEB2AQGAQGZBrEB3AQGAQGdBrEB4AQGAQGhBrEB5AQGAQGlBrEB6AQGAQGpBrEB7AQGAQGtBrEB8AQGAQGxBrEB9AQGAQG1BrEB+AQGAQG5BrEB/AQGAQG9BrEBgAUGAQHBBrEBhAUGAQHFBrEBiAUGAQHJBrEBjAUGAQHNBrEBkAUGAQHRBrEBlAUGAQHVBrEBmAUGAQHZBrEBnAUGAQHdBrEBoAUGAQHhBrEBpAUGAQHlBrEBqAUGAQHpBrEBrAUGAQHtBrEBsAUGAQHxBrEBtAUGAQH1BrEBuAUGAQH5BrEBvAUGAQH9BrEBxgUvQWx0dWEuRGF0YS5JbmZyYXN0cnVjdHVyZS5QYXJhZ3JhcGgsIEFsdHVhLkRhdGHBBbEBBQwDBYAHyQWxAQUMAwWEB80FsQEFDAMFiAfRBbEBBQwDBYwH1QWxAQUMAwWQB9kFsQEFDAMFlAfdBbEBBQwDBZgH4QWxAQUMAwWcB+UFsQEFDAMFoAfpBbEBBQwDBaQH7QWxAQUMAwWoB/EFsQEFDAMFrAf1BbEBBQwDBbAH+QWxAQUMAwW0B/0FsQEFDAMFuAeBBrEBBQwDBbwHhQaxAQUMAwXAB4kGsQEFDAMFxAeNBrEBBQwDBcgHkQaxAQUMAwXMB5UGsQEFDAMF0AeZBrEBBQwDBdQHnQaxAQUMAwXYB6EGsQEFDAMF3AelBrEBBQwDBeAHqQaxAQUMAwXkB60GsQEFDAMF6AexBrEBBQwDBewHtQaxAQUMAwXwB7kGsQEFDAMF9Ae9BrEBBQwDBfgHwQaxAQUMAwX8B8UGsQEFDAMFgAjJBrEBBQwDBYQIzQaxAQUMAwWICNEGsQEFDAMFjAjVBrEBBQwDBZAI2QaxAQUMAwWUCN0GsQEFDAMFmAjhBrEBBQwDBZwI5QaxAQUMAwWgCOkGsQEFDAMFpAjtBrEBBQwDBagI8QaxAQUMAwWsCPUGsQEFDAMFsAj5BrEBBQwDBbQI/QaxAQUMAwW4CIAHBgEBvQiQAoQHBgEBxQiQAogHBgEByQiQAowHBgEBzQiQApAHBgEB0QiQApQHBgEB1QiWApgHBgEB3QiWApwHBgEB4QiQAqAHBgEB5QiWAqQHBgEB6QiWAqgHBgEB7QiQAqwHBgEB8QiWArAHBgEB9QiQArQHBgEB+QiQArgHBgEB/QiQArwHBgEBgQmQAsAHBgEBhQmQAsQHBgEBiQmWAsgHBgEBjQmQAswHBgEBkQmQAtAHBgEBlQmQAtQHBgEBmQmWAtgHBgEBnQmQAtwHBgEBoQmQAuAHBgEBpQmWAuQHBgEBqQmQAugHBgEBrQmQAuwHBgEBsQmQAvAHBgEBtQmQAvQHBgEBuQmQAvgHBgEBvQmQAvwHBgEBwQmQAoAIBgEBxQmWAoQIBgEByQmQAogIBgEBzQmQAowIBgEB0QmWApAIBgEB1QmQApQIBgEB2QmWApgIBgEB3QmQApwIBgEB4QmWAqAIBgEB5QmQAqQIBgEB6QmQAqgIBgEB7QmQAqwIBgEB8QmQArAIBgEB9QmQArQIBgEB+QmQArgIBgEB/QmQAsIIL0FsdHVhLkRhdGEuSW5mcmFzdHJ1Y3R1cmUuTnVtYmVyUnVuLCBBbHR1YS5EYXRhvQiQAhMEDgOyxcrwjShIQB2BCsECDYgKxQiQAhMEDgMAAAAAAADwPx2NCsECDZAKyQiQAhMEDgNkrAzfiALzPx2BCsECDYgKzQiQAhMEDgPr+tliZfgWQB2BCsECDYgK0QiQAhMEDgM0BS+n4OVDQB2VCsECDZgK2ggtQWx0dWEuRGF0YS5JbmZyYXN0cnVjdHVyZS5UZXh0UnVuLCBBbHR1YS5EYXRh1QiWAhsEFkZvbGtldmFsZ3RlIHBvbGl0aWtlcmUNnArdCJYCHAQXSW50ZXJlc3Nlb3JnYW5pc2Fzam9uZXINnArhCJACEwQOA2VkZGRkZD5AHaEKwQINpArlCJYCEgQNTGV2ZXJhbmTDuHJlcg2cCukIlgIbBBZJbm5ieWdnZXJuZSBpIGtvbW11bmVuDagK7QiQAhMEDgN4c3Nzc3MbQB2hCsECDaQK8QiWAgwEB0Fuc2F0dGUNnAr1CJACEwQOA6Z5kLt+tjxAHYEKwQINiAr5CJACEwQOA6GCl1PwckZAHZUKwQINmAr9CJACEwQOA6Gbm5ubmxNAHaEKwQINpAqBCZACEwQOA1LzIHf9bCFAHYEKwQINiAqFCZACEwQOA6Z5kLt+tjxAHYEKwQINiAqJCZYCHQQYTsOmcmluZ3NsaXZldCBpIGtvbW11bmVuDZwKjQmQAhMEDgMAAAAAAKCfQB2tCsECDbAKkQmQAhMEDgMhSZIkSZIcQB2VCsECDZgKlQmQAhMEDgOagpdT8HJWQB2VCsECDZgKmQmWAgsEBkJhbmtlbg2cCp0JkAITBA4DsjJ8IwpMREAdgQrBAg2ICqEJkAITBA4DqaWlpaWlUUAdoQrBAg2kCqUJlgIKBAVOb3JnZQ20CqkJkAITBA4DoZubm5ubE0AdoQrBAg2kCq0JkAITBA4DFbycgpdTIEAdlQrBAg2YCrEJkAITBA4D+tliZfhGVkAdgQrBAg2ICrUJkAITBA4DAAAAAAAAAAAdlQrBAg2YCrkJkAITBA4DWWX4RhSYBEAdgQrBAg2ICr0JkAITBA4DBwoKCgoKR0AdoQrBAg2kCsEJkAITBA4DdHh4eHh4SkAdoQrBAg2kCsUJlgINBAhWZXQgaWtrZQ24CskJkAITBA4DXl9fX19fH0AdoQrBAg2kCs0JkAITBA4Dn7E+NNaHSkAdlQrBAg2YCtEJlgIaBBVSZWdpb25hbGUgbXluZGlnaGV0ZXINnArVCZACEwQOAxnrQ2N9aBRAHZUKwQINmArZCZYCCgQFQW5kcmUNnArdCZACEwQOAwAAAAAAnJ9AHY0KwQINkArhCZYCGQQUU3RhdGxpZ2UgbXluZGlnaGV0ZXINnArlCZACEwQOA2usD431oU9AHZUKwQINmArpCZACEwQOA+wUvJyClz1AHZUKwQINmArtCZACEwQOAxnrQ2N9aBRAHZUKwQINmArxCZACEwQOA5eWlpaWlkRAHaEKwQINpAr1CZACEwQOA8bDw8PDQ1hAHaEKwQINpAr5CZACEwQOA2SsDN+IAgNAHYEKwQINiAr9CZACEwQOAxeYdGoe5E5AHYEKwQINiAqGCj1BbHR1YS5EYXRhLk51bWJlckZvcm1hdHRpbmcuQ29tcG9zaXRlTnVtYmVyRm9ybWF0LCBBbHR1YS5EYXRhgQrBAgsdvAolwAo1xAo9AIgKEgQAHAAkACwANAA8AEwAVABdAI0KwQILHcgKJcwKNdAKPQCQChIEABwAJAAsADQAPABMAFQAXQCVCsECCx3UCiXYCjXcCj0AmAoSBAAcACQALAA0ADwATABUAF0AnAoSBAAcACQALAA0ADwATABUAF0AoQrBAgsd4Aol5Ao16Ao9AKQKEgQAHAAkACwANAA8AEwAVABdAKgKEgQAHAAkACwANAA8AEwAVABdAK0KwQILHewKJfAKNfQKPQCwChIEABwAJAAsADQAPABMAFQAXQC0ChIEABwAJAAsADQAPABMAFQAXQC4ChIEABwAJAAsADQAPABMAFQAXQC8CgkAAAwDBfgKEQDACgkAAAwDBfwKEQDECgoEASwMAS4UAmtyyAoJAAAMAwWACxEAzAoJAAAMAwWECxEA0AoKBAEsDAEuFAJrctQKCQAADAMFiAsRANgKCQAADAMFjAsRANwKCgQBLAwBLhQCa3LgCgkAAAwDBZALEQDkCgkAAAwDBZQLEQDoCgoEASwMAS4UAmty7AoJAAAMAwWYCxEA8AoJAAAMAwWcCxEA9AoKBAEsDAEuFAJrcvgKBgEBoQvpAvwKCgECqQvrArEL6QKACwYBAbUL6QKECwoBArkL6wK9C+kCiAsGAQHBC+kCjAsKAQLFC+sCyQvpApALBgEBzQvpApQLCgEC0QvrAtUL6QKYCwYBAdkL6QKcCwoBAt0L6wLhC+kCpgtCQWx0dWEuRGF0YS5OdW1iZXJGb3JtYXR0aW5nLk51bWJlckZvcm1hdEdlbmVyYWxTZWdtZW50LCBBbHR1YS5EYXRhoQvpAgCuCz9BbHR1YS5EYXRhLk51bWJlckZvcm1hdHRpbmcuTnVtYmVyRm9ybWF0VGV4dFNlZ21lbnQsIEFsdHVhLkRhdGGpC+sCBQQBLQkBsQvpAgC1C+kCALkL6wIFBAEtCQG9C+kCAMEL6QIAxQvrAgUEAS0JAckL6QIAzQvpAgDRC+sCBQQBLQkB1QvpAgDZC+kCAN0L6wIFBAEtCQHhC+kCAA=="/>
  <p:tag name="GRUNT-SYNC" val="501629e68a024e11990d0a62db5d024f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b16fe469-ef1a-43c0-9f36-f784c8094543"/>
  <p:tag name="GRUNT-X-RESOURCES" val="AQIFBAQEAgEA"/>
  <p:tag name="GRUNT-VERSION" val="20.24.1.0"/>
  <p:tag name="GRUNT-VERSION-2" val="2024.1-r2-4069"/>
  <p:tag name="GRUNT-RENDERHASH" val="ac79f72e3ffb6b4b294b926f3328eaaf-svg"/>
  <p:tag name="GRUNT-X-SHAPEBOUNDS" val="ASIBBAAAACDfSHhAAAAAAN//X0AAAADgTUplQAAAAOC1bTVAAA=="/>
  <p:tag name="GRUNT-X-PAGEOBJECT" val="AQUCswIKPkFsdHVhLk9hay5Db3JlLkRvY3VtZW50TW9kZWwuQ2hhcnRMZWdlbmRPYmplY3QsIEFsdHVhLk9hay5Db3JlBQI5BBIEEGnkb7Ea78BDnzb3hMgJRUMUEgQQa43rWSRm50upomXWuk1j/S0MNRBEAgUUSABVGQdlIG0kDAQEAgUoEAIFLBQCAQAeUEFsdHVhLk9hay5Db3JlLkRvY3VtZW50TW9kZWwuVGVtcGxhdGluZy5DdXN0b21Qb3NpdGlvbkRlZmluaXRpb24sIEFsdHVhLk9hay5Db3JlGQckBCIBBExYbxTfSHhACO/+8d7/X0AoShzYTUplQKD//+e1bTVAIAsFMAwFbmItTk8VNCQEAQEJASgCAQAsADAKBAEsDAEgFAJrcjQJBAVuYi1OTwgB"/>
  <p:tag name="GRUNT-SYNC" val="19bf3a9baf214822862bd6464a8123e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61527f37-b8c0-4aa6-9719-e5029da2673b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qDMKN0FsdHVhLkRhdGEuRGF0YVNlcnZpY2VzLkVtYmVkZGVkRGF0YVNlcnZpY2UsIEFsdHVhLkRhdGEFAhkEEgQQKExBgFf6hUmdxgWSs+zTDA0MJREFDAYFGAgSEAgWQUFsdHVhLkRhdGEuRGF0YVNlcnZpY2VzLkVtYmVkZGVkRGF0YVNlcnZpY2VFZGl0b3JEYXRhLCBBbHR1YS5EYXRhEQUEBRwNIBgGBSQNKBUsHDwdBBIEENNz8cQb9wFOoDLwDWItJDkLAAAAAAAAHEAdBBIEEB/rjDimIctLiTIXQgTfWDQLAAAAAAAgYkAgWh0EEgQQBbe507cO9EmRZBhNRm5FrAsAAAAAAAAyQB0EEgQQhB+R4huFNUGwuFZrPUlJDwsAAAAAAAAyQB0EEgQQiM3di/QzE0O2sNUfScIhvgsAAAAAAAAyQCQLMDQ4PEBESExQVFgoBFxgZGgs4w8sBCgEEgQQWZ9h5liRP0iEKp689x5lRgwSBBAX99T7+uRLQqMwRB7qCt7DDWwsBCgEEgQQM3YuVsqsz0O4n/jX90PyIgwSBBAX99T7+uRLQqMwRB7qCt7DDXAsBCgEEgQQ2o0rEHtPmkyZRivzTi/4HAwSBBBfl5CXxFq7QpsQMAZxTsVZDXQsBCgEEgQQ5PInsc7xekOZNXqmuIfDUgwSBBD5LFn+/d9vRbn+Z9Mj0qsjDXgsBCgEEgQQdZ6YkVxDK0eAjaDLHe+U4wwSBBBfl5CXxFq7QpsQMAZxTsVZDXwtBCgEEgQQ+9G3b3jUo0+01sDjCc17SQwSBBBfl5CXxFq7QpsQMAZxTsVZDYABLQQoBBIEEB/rjDimIctLiTIXQgTfWDQMEgQQ6NwaFbIJ/EeQekLL/HFgWw2EAS0EKAQSBBAzdi5WyqzPQ7if+Nf3Q/IiDBIEEF+XkJfEWrtCmxAwBnFOxVkNiAEtBCgEEgQQH+uMOKYhy0uJMhdCBN9YNAwSBBBfl5CXxFq7QpsQMAZxTsVZDYwBLQQoBBIEEDN2LlbKrM9DuJ/41/dD8iIMEgQQ6NwaFbIJ/EeQekLL/HFgWw2QAS0EKAQSBBBZn2HmWJE/SIQqnrz3HmVGDBIEEF+XkJfEWrtCmxAwBnFOxVkNlAEtBCgEEgQQvwTc5RtNWkutyU+VfAlE1QwSBBAX99T7+uRLQqMwRB7qCt7DDZgBLQQoBBIEEL8E3OUbTVpLrclPlXwJRNUMEgQQ+SxZ/v3fb0W5/mfTI9KrIw2cAS0EKAQSBBD70bdveNSjT7TWwOMJzXtJDBIEEOjcGhWyCfxHkHpCy/xxYFsNoAEtBCgEEgQQ+9G3b3jUo0+01sDjCc17SQwSBBAX99T7+uRLQqMwRB7qCt7DDaQBLQQoBBIEEB/rjDimIctLiTIXQgTfWDQMEgQQF/fU+/rkS0KjMEQe6greww2oAS0EKAQSBBC/BNzlG01aS63JT5V8CUTVDBIEEF+XkJfEWrtCmxAwBnFOxVkNrAEtBCgEEgQQ2o0rEHtPmkyZRivzTi/4HAwSBBD5LFn+/d9vRbn+Z9Mj0qsjDbABLQQoBBIEEB0FhTEc+05EorWU70TPC84MEgQQ+SxZ/v3fb0W5/mfTI9KrIw20AS0EKAQSBBB1npiRXEMrR4CNoMsd75TjDBIEEPksWf79329Fuf5n0yPSqyMNuAEtBCgEEgQQHQWFMRz7TkSitZTvRM8LzgwSBBBfl5CXxFq7QpsQMAZxTsVZDbwBLQQoBBIEEOTyJ7HO8XpDmTV6priHw1IMEgQQF/fU+/rkS0KjMEQe6greww3AAS0EKAQSBBBZn2HmWJE/SIQqnrz3HmVGDBIEEOjcGhWyCfxHkHpCy/xxYFsNxAEtBCgEEgQQ2o0rEHtPmkyZRivzTi/4HAwSBBAX99T7+uRLQqMwRB7qCt7DDcgBLQQoBBIEEB0FhTEc+05EorWU70TPC84MEgQQ6NwaFbIJ/EeQekLL/HFgWw3MAS0EKAQSBBD70bdveNSjT7TWwOMJzXtJDBIEEPksWf79329Fuf5n0yPSqyMN0AEtBCgEEgQQdZ6YkVxDK0eAjaDLHe+U4wwSBBAX99T7+uRLQqMwRB7qCt7DDdQBLQQoBBIEEB0FhTEc+05EorWU70TPC84MEgQQF/fU+/rkS0KjMEQe6greww3YAS0EKAQSBBDk8iexzvF6Q5k1eqa4h8NSDBIEEOjcGhWyCfxHkHpCy/xxYFsN3AEtBCgEEgQQm/M3zPYwGE+mf4EZY82/qgwSBBDo3BoVsgn8R5B6Qsv8cWBbDeABLQQoBBIEEOgCaYiSxWlHhZyZ2nlSP34MEgQQ6NwaFbIJ/EeQekLL/HFgWw3kAS0EKAQSBBBZn2HmWJE/SIQqnrz3HmVGDBIEEPksWf79329Fuf5n0yPSqyMN6AEtBCgEEgQQ5PInsc7xekOZNXqmuIfDUgwSBBBfl5CXxFq7QpsQMAZxTsVZDewBLQQoBBIEEOgCaYiSxWlHhZyZ2nlSP34MEgQQ+SxZ/v3fb0W5/mfTI9KrIw3wAS0EKAQSBBDoAmmIksVpR4Wcmdp5Uj9+DBIEEF+XkJfEWrtCmxAwBnFOxVkN9AEtBCgEEgQQ2o0rEHtPmkyZRivzTi/4HAwSBBDo3BoVsgn8R5B6Qsv8cWBbDfgBLQQoBBIEEJvzN8z2MBhPpn+BGWPNv6oMEgQQX5eQl8Rau0KbEDAGcU7FWQ38AS0EKAQSBBCb8zfM9jAYT6Z/gRljzb+qDBIEEPksWf79329Fuf5n0yPSqyMNgAItBCgEEgQQH+uMOKYhy0uJMhdCBN9YNAwSBBD5LFn+/d9vRbn+Z9Mj0qsjDYQCLQQoBBIEEDN2LlbKrM9DuJ/41/dD8iIMEgQQ+SxZ/v3fb0W5/mfTI9KrIw2IAi0EKAQSBBC/BNzlG01aS63JT5V8CUTVDBIEEOjcGhWyCfxHkHpCy/xxYFsNjAItBCgEEgQQdZ6YkVxDK0eAjaDLHe+U4wwSBBDo3BoVsgn8R5B6Qsv8cWBbDZACLQQoBBIEEOgCaYiSxWlHhZyZ2nlSP34MEgQQF/fU+/rkS0KjMEQe6greww2UAi0EKAQSBBCb8zfM9jAYT6Z/gRljzb+qDBIEEBf31Pv65EtCozBEHuoK3sMNmAIwGgQSBBDajSsQe0+aTJlGK/NOL/gcDAJDMRkBNBoEEgQQH+uMOKYhy0uJMhdCBN9YNAwCQzIZATgaBBIEEHWemJFcQytHgI2gyx3vlOMMAkMzGQE8GgQSBBAzdi5WyqzPQ7if+Nf3Q/IiDAJDNBkBQBoEEgQQWZ9h5liRP0iEKp689x5lRgwCQzUZAUQaBBIEEOTyJ7HO8XpDmTV6priHw1IMAkM2GQFIGwQSBBCb8zfM9jAYT6Z/gRljzb+qDANDMTIZAUwbBBIEEL8E3OUbTVpLrclPlXwJRNUMA0MxMxkBUBsEEgQQHQWFMRz7TkSitZTvRM8LzgwDQzE0GQFUGwQSBBD70bdveNSjT7TWwOMJzXtJDANDMTUZAVgbBBIEEOgCaYiSxWlHhZyZ2nlSP34MA0MxNhkBXBoEEgQQX5eQl8Rau0KbEDAGcU7FWQwCUjEZAWAaBBIEEOjcGhWyCfxHkHpCy/xxYFsMAlIyGQFkGgQSBBD5LFn+/d9vRbn+Z9Mj0qsjDAJSMxkBaBoEEgQQF/fU+/rkS0KjMEQe6grewwwCUjUZAWwGDZwCFaACcAYNnAIVpAJ0Bg2oAhWsAngGDagCFbACfAYNqAIVtAKAAQYNuAIVvAKEAQYNqAIVwAKIAQYNqAIVxAKMAQYNqAIVyAKQAQYNqAIVzAKUAQYNqAIV0AKYAQYNuAIV1AKcAQYNuAIV2AKgAQYNuAIV3AKkAQYNuAIV4AKoAQYNnAIV5AKsAQYNuAIV6AKwAQYNqAIV7AK0AQYNuAIV8AK4AQYNqAIV9AK8AQYNuAIV+ALAAQYNnAIV/ALEAQYNgAMVhAPIAQYNnAIViAPMAQYNuAIVjAPQAQYNuAIVkAPUAQYNnAIVlAPYAQYNuAIVmAPcAQYNgAMVnAPgAQYNuAIVoAPkAQYNuAIVpAPoAQYNqAIVqAPsAQYNqAIVrAPwAQYNuAIVsAP0AQYNuAIVtAP4AQYNqAIVuAP8AQYNuAIVvAOAAgYNuAIVwAOEAgYNqAIVxAOIAgYNqAIVyAOMAgYNuAIVzAOQAgYNqAIV0AOUAgYNuAIV1AOYAgYNuAIV2AOcAgIEAKACBQQDBdwDpAIFBAMF4AOoAgIEAKwCBQQDBeQDsAIFBAMF6AO0AgUEAwXsA7gCAgQAvAIFBAMF8APAAgUEAwX0A8QCBQQDBfgDyAIFBAMF/APMAgUEAwWABNACBQQDBYQE1AIFBAMFiATYAgUEAwWMBNwCBQQDBZAE4AIFBAMFlATkAgUEAwWYBOgCBQQDBZwE7AIFBAMFoATwAgUEAwWkBPQCBQQDBagE+AIFBAMFrAT8AgUEAwWwBIADAgQAhAMFBAMFtASIAwUEAwW4BIwDBQQDBbwEkAMFBAMFwASUAwUEAwXEBJgDBQQDBcgEnAMFBAMFzASgAwUEAwXQBKQDBQQDBdQEqAMFBAMF2ASsAwUEAwXcBLADBQQDBeAEtAMFBAMF5AS4AwUEAwXoBLwDBQQDBewEwAMFBAMF8ATEAwUEAwX0BMgDBQQDBfgEzAMFBAMF/ATQAwUEAwWABdQDBQQDBYQF2AMFBAMFiAXcAwYBAY0FpAHgAwYBAZUFpAHkAwIBAOgDBgEBmQWkAewDBgEBnQWkAfADBgEBoQWkAfQDBgEBpQWkAfgDBgEBqQWkAfwDBgEBrQWkAYAEBgEBsQWkAYQEBgEBtQWkAYgEBgEBuQWkAYwEBgEBvQWkAZAEBgEBwQWkAZQEBgEBxQWkAZgEBgEByQWkAZwEBgEBzQWkAaAEBgEB0QWkAaQEBgEB1QWkAagEBgEB2QWkAawEBgEB3QWkAbAEBgEB4QWkAbQEBgEB5QWkAbgEBgEB6QWkAbwEBgEB7QWkAcAEBgEB8QWkAcQEBgEB9QWkAcgEBgEB+QWkAcwEBgEB/QWkAdAEBgEBgQakAdQEBgEBhQakAdgEBgEBiQakAdwEBgEBjQakAeAEBgEBkQakAeQEBgEBlQakAegEBgEBmQakAewEBgEBnQakAfAEBgEBoQakAfQEBgEBpQakAfgEBgEBqQakAfwEBgEBrQakAYAFBgEBsQakAYQFBgEBtQakAYgFBgEBuQakAZIFL0FsdHVhLkRhdGEuSW5mcmFzdHJ1Y3R1cmUuUGFyYWdyYXBoLCBBbHR1YS5EYXRhjQWkAQUMAwW8BpUFpAEFDAMFwAaZBaQBBQwDBcQGnQWkAQUMAwXIBqEFpAEFDAMFzAalBaQBBQwDBdAGqQWkAQUMAwXUBq0FpAEFDAMF2AaxBaQBBQwDBdwGtQWkAQUMAwXgBrkFpAEFDAMF5Aa9BaQBBQwDBegGwQWkAQUMAwXsBsUFpAEFDAMF8AbJBaQBBQwDBfQGzQWkAQUMAwX4BtEFpAEFDAMF/AbVBaQBBQwDBYAH2QWkAQUMAwWEB90FpAEFDAMFiAfhBaQBBQwDBYwH5QWkAQUMAwWQB+kFpAEFDAMFlAftBaQBBQwDBZgH8QWkAQUMAwWcB/UFpAEFDAMFoAf5BaQBBQwDBaQH/QWkAQUMAwWoB4EGpAEFDAMFrAeFBqQBBQwDBbAHiQakAQUMAwW0B40GpAEFDAMFuAeRBqQBBQwDBbwHlQakAQUMAwXAB5kGpAEFDAMFxAedBqQBBQwDBcgHoQakAQUMAwXMB6UGpAEFDAMF0AepBqQBBQwDBdQHrQakAQUMAwXYB7EGpAEFDAMF3Ae1BqQBBQwDBeAHuQakAQUMAwXkB7wGBgEB6Qf7AcAGBgEB8Qf7AcQGBgEB9Qf7AcgGBgEB+Qf/AcwGBgEBgQj/AdAGBgEBhQj7AdQGBgEBiQj/AdgGBgEBjQj/AdwGBgEBkQj7AeAGBgEBlQj/AeQGBgEBmQj7AegGBgEBnQj7AewGBgEBoQj7AfAGBgEBpQj7AfQGBgEBqQj7AfgGBgEBrQj/AfwGBgEBsQj7AYAHBgEBtQj7AYQHBgEBuQj7AYgHBgEBvQj/AYwHBgEBwQj7AZAHBgEBxQj7AZQHBgEByQj/AZgHBgEBzQj7AZwHBgEB0Qj7AaAHBgEB1Qj7AaQHBgEB2Qj7AagHBgEB3Qj7AawHBgEB4Qj7AbAHBgEB5Qj7AbQHBgEB6Qj7AbgHBgEB7Qj/AbwHBgEB8Qj7AcAHBgEB9Qj/AcQHBgEB+Qj7AcgHBgEB/Qj/AcwHBgEBgQn7AdAHBgEBhQn7AdQHBgEBiQn7AdgHBgEBjQn7AdwHBgEBkQn7AeAHBgEBlQn7AeQHBgEBmQn7Ae4HL0FsdHVhLkRhdGEuSW5mcmFzdHJ1Y3R1cmUuTnVtYmVyUnVuLCBBbHR1YS5EYXRh6Qf7ARMEDgNxeAs+W7MgQB2dCagCDaQJ8Qf7ARMEDgPkOu1rUyBCQB2dCagCDaQJ9Qf7ARMEDgO59957771BQB2dCagCDaQJ/gctQWx0dWEuRGF0YS5JbmZyYXN0cnVjdHVyZS5UZXh0UnVuLCBBbHR1YS5EYXRh+Qf/AQkEBEJhbmsNqAmBCP8BCgQFQW5uZXQNqAmFCPsBEwQOA7v6QUcFvhhAHZ0JqAINpAmJCP8BGwQWQW5zYXR0ZS9pbnRlcm4gcmVzc3Vycw2oCY0I/wEYBBMoRWtzdGVybikga29uc3VsZW50DawJkQj7ARMEDgPxJDIN2806QB2dCagCDaQJlQj/AQcEAktTDagJmQj7ARMEDgMAAAAAAAAAAB2dCagCDaQJnQj7ARMEDgMAAAAAAAAAAB2dCagCDaQJoQj7ARMEDgO7+kFHBb4YQB2dCagCDaQJpQj7ARMEDgO9HZUmohsRQB2dCagCDaQJqQj7ARMEDgOfJxzegs8GQB2dCagCDaQJrQj/AQwEB1Jldmlzb3INqAmxCPsBEwQOAwAAAAAAoJ9AHbEJqAINtAm1CPsBEwQOAy/RRBNNNAFAHZ0JqAINpAm5CPsBEwQOAwAAAAAAAAAAHZ0JqAINpAm9CP8BEgQNTGV2ZXJhbmTDuHJlcg2oCcEI+wETBA4DdRe5l1cIOEAdnQmoAg2kCcUI+wETBA4DQqZhu1meFEAdnQmoAg2kCckI/wEKBAVOb3JnZQ24Cc0I+wETBA4DylGBL65+AEAdnQmoAg2kCdEI+wETBA4DL9FEE000EUAdnQmoAg2kCdUI+wETBA4DAAAAAAAAAAAdnQmoAg2kCdkI+wETBA4D3FFpIroR6j8dnQmoAg2kCd0I+wETBA4D07DdLE8iRUAdnQmoAg2kCeEI+wETBA4DDHxx9YOOIkAdnQmoAg2kCeUI+wETBA4DylGBL65+AEAdnQmoAg2kCekI+wETBA4DhwUWWGCBFUAdnQmoAg2kCe0I/wEaBBVSZWdpb25hbGUgbXluZGlnaGV0ZXINvAnxCPsBEwQOAy/RRBNNNAFAHZ0JqAINpAn1CP8BCgQFSW5nZW4NwAn5CPsBEwQOAwAAAAAAnJ9AHcUJqAINyAn9CP8BGQQUU3RhdGxpZ2UgbXluZGlnaGV0ZXINvAmBCfsBEwQOAy/RRBNNNDFAHZ0JqAINpAmFCfsBEwQOA8c555xzzglAHZ0JqAINpAmJCfsBEwQOAxNuuOGGGz5AHZ0JqAINpAmNCfsBEwQOAwAAAAAAAAAAHZ0JqAINpAmRCfsBEwQOAwAAAAAAAAAAHZ0JqAINpAmVCfsBEwQOA2f9zplLjQNAHZ0JqAINpAmZCfsBEwQOA+C/sMdD+jRAHZ0JqAINpAmiCT1BbHR1YS5EYXRhLk51bWJlckZvcm1hdHRpbmcuQ29tcG9zaXRlTnVtYmVyRm9ybWF0LCBBbHR1YS5EYXRhnQmoAgsdzAkl0Ak11Ak9AKQJEgQAHAAkACwANAA8AEwAVABdAKgJEgQAHAAkACwANAA8AEwAVABdAKwJEgQAHAAkACwANAA8AEwAVABdALEJqAILHdgJJdwJNeAJPQC0CRIEABwAJAAsADQAPABMAFQAXQC4CRIEABwAJAAsADQAPABMAFQAXQC8CRIEABwAJAAsADQAPABMAFQAXQDACRIEABwAJAAsADQAPABMAFQAXQDFCagCCx3kCSXoCTXsCT0AyAkSBAAcACQALAA0ADwATABUAF0AzAkJAAAMAwXwCREA0AkJAAAMAwX0CREA1AkKBAEsDAEuFAJrctgJCQAADAMF+AkRANwJCQAADAMF/AkRAOAJCgQBLAwBLhQCa3LkCQkAAAwDBYAKEQDoCQkAAAwDBYQKEQDsCQoEASwMAS4UAmty8AkGAQGJCsMC9AkKAQKRCsUCmQrDAvgJBgEBnQrDAvwJCgECoQrFAqUKwwKACgYBAakKwwKECgoBAq0KxQKxCsMCjgpCQWx0dWEuRGF0YS5OdW1iZXJGb3JtYXR0aW5nLk51bWJlckZvcm1hdEdlbmVyYWxTZWdtZW50LCBBbHR1YS5EYXRhiQrDAgCWCj9BbHR1YS5EYXRhLk51bWJlckZvcm1hdHRpbmcuTnVtYmVyRm9ybWF0VGV4dFNlZ21lbnQsIEFsdHVhLkRhdGGRCsUCBQQBLQkBmQrDAgCdCsMCAKEKxQIFBAEtCQGlCsMCAKkKwwIArQrFAgUEAS0JAbEKwwIA"/>
  <p:tag name="GRUNT-RENDERHASH" val="4ba25b2734bb33f67673435feb6f6017-svg"/>
  <p:tag name="GRUNT-X-SHAPEBOUNDS" val="ASIBBAAAAIBCaktAAAAAYMpOYUAAAABgLcp5QAAAAAC6hXZAAA=="/>
  <p:tag name="GRUNT-X-PAGEOBJECT" val="AQUC6TQKOEFsdHVhLk9hay5Db3JlLkRvY3VtZW50TW9kZWwuQ2hhcnRPYmplY3QsIEFsdHVhLk9hay5Db3JlBQI1BBIEEEBIRtpubWpKgNE/Cld5IAQMEgQQKExBgFf6hUmdxgWSs+zTDBUNBCUUNRg9HFUgZSQSUEFsdHVhLk9hay5Db3JlLkRvY3VtZW50TW9kZWwuVGVtcGxhdGluZy5DdXN0b21Qb3NpdGlvbkRlZmluaXRpb24sIEFsdHVhLk9hay5Db3JlDQQkBCIBBKCZmQn36GVAAAAAaMpWYUB8dzkFdU9xQD5EgAO6fXZAFBMVKB0sNTA4AEU1DlU8XUBkAgVEGAQEAgVIHAIFTCALBVAMBW5iLU5PFVQkEAEBCQERARkBIQEpATEBOQAoFgQSBBAAAAAAAAAAAAAAAAAAAAAACAEsFgQSBBAAAAAAAAAAAAAAAAAAAAAACAEwADpHQWx0dWEuT2FrLkNvcmUuQ2hhcnQuQ2x1c3RlcmVkQmFyV2l0aExpbmVQbG90RGVmaW5pdGlvbiwgQWx0dWEuT2FrLkNvcmU1DjUEEgQQlwH918wXJUCsclEcT+MpdBwCBVglXDVgPAIFZEkAbWiNAWylAXC1AXUeuQEAxQF9IDwFBYQBDQBABAEACQBECgEEiAGMAZABlAFIAgEATABQCgQBLAwBIBQCa3JUCQQFbmItTk8IAVgEAQGYAVwNAAAIARQDBZwBHAAlAGAmBCIBBAAAAAAAABBAAAAAAAAAEEAAAAAAAAAQQAAAAAAAABBACARkAgEAaAsDAAAAAACATUAIIGwLAwAAAAAAABRACCBwSjWgAT2kAUWoAVWsAV2wAXW0AY0BuAGdAbwBpQHAAa0BxAHNAcgB1QHMAd0B0AHlAdQB7QHYAfUB3AH9AeABhQLkAY0C6AGVAuwBekVBbHR1YS5PYWsuQ29yZS5QbG90dGluZy5BdXRvbWF0aWNDYXRlZ29yeUF4aXNTZXR0aW5ncywgQWx0dWEuT2FrLkNvcmV1HhMBAQ3wARAAGQEwAD30AUX4AUgBggE9QWx0dWEuT2FrLkNvcmUuVGhlbWluZy5QYWdlQ29sb3JTY2hlbWVQb2ludGVyLCBBbHR1YS5PYWsuQ29yZX0gAIQBFvwBgAKEAogCjAKQApQCmAKcAqACpAKIAUgEEgQQOa6hS2PnK1Gv94eZJj3pqAwSBBBN7C3gjSEaRZMlp4aQhzifFagCHBIEEOjcGhWyCfxHkHpCy/xxYFskAC2sAjWxAk2MAUgEEgQQ3hL/oLfjmVGNga5GutPNVQwSBBBN7C3gjSEaRZMlp4aQhzifFbgCHBIEEPksWf79329Fuf5n0yPSqyMkAC28AjWxAk2QAUgEEgQQn1O4uUOy5k2Ko54KQKJq0gwSBBBN7C3gjSEaRZMlp4aQhzifFcACHBIEEBf31Pv65EtCozBEHuoK3sMkAC3EAjWxAk2UAUgEEgQQRnS8aADBQUq8i1k+LqBo4gwSBBBN7C3gjSEaRZMlp4aQhzifFcgCHBIEEIjN3Yv0MxNDtrDVH0nCIb4kAC3MAjXRAk2YAUIBABgDJdQCKQAxAEADSAJV2AJd3AJkEgQQTewt4I0hGkWTJaeGkIc4n23gAnXkAo0B6AKRAQGdAewCpQHwArUB9AKcAQIBAKABBQQDBfgCpAEFBAMF/AKoAQUEAwWAA6wBBQQDBYQDsAEFBAMF+AK0AQUEAwX4ArgBBQQDBYgDvAEFBAMFjAPAAQUEAwWQA8QBBQQDBZQDyAEFBAMFmAPMAQUEAwWcA9ABBQQDBaAD1AEFBAMFpAPYAQUEAwWoA9wBBQQDBawD4AEFBAMFsAPkAQUEAwW0A+gBBQQDBbgD7AEFBAMFvAPwAQIBAPQBBgXBA3EIBPgBBgXJA3EIBPwBKwQSBBC2eXxy0EHyUKp5dbmyumSbDBIEEB/rjDimIctLiTIXQgTfWDQcAQGAAisEEgQQrfGRoxqCdV+4daZv8AfmjQwSBBB1npiRXEMrR4CNoMsd75TjHAEBhAIrBBIEEBSBN9r8Y2RWul1CCKzVv/AMEgQQM3YuVsqsz0O4n/jX90PyIhwBAYgCKwQSBBB3YzC6NspAVLPfKOdMpzKXDBIEEFmfYeZYkT9IhCqevPceZUYcAQGMAisEEgQQPUNl9mfZ11aek/af0BOCQgwSBBDk8iexzvF6Q5k1eqa4h8NSHAEBkAIrBBIEEIP7inL2cPxAoFMoUXqiFq4MEgQQm/M3zPYwGE+mf4EZY82/qhwBAZQCKwQSBBBSncd3Y1B/RoqunDrlDS1YDBIEEL8E3OUbTVpLrclPlXwJRNUcAQGYAisEEgQQlwVwbPHZ+k2bHFl6ry2E9QwSBBAdBYUxHPtORKK1lO9EzwvOHAEBnAIrBBIEEGtJ37dzL2hPqnew1kFQDesMEgQQ+9G3b3jUo0+01sDjCc17SRwBAaACKwQSBBDiKR+ydorgS4lT9+amyLG5DBIEEOgCaYiSxWlHhZyZ2nlSP34cAQGkAisEEgQQQCreSZDAnEqcHw+Ubsix0wwSBBDaXjv7RxM+TLSXjY1wzLcIHAEBqAIFBcwDCAGsAgQFAAgBtgI+QWx0dWEuT2FrLkNvcmUuQ2hhcnQuRGVmYXVsdFBsb3RTZXJpZXNTZXR0aW5ncywgQWx0dWEuT2FrLkNvcmWxAk0AuAIFBdADCAG8AgQFAAgBwAIFBdQDCAHEAgQFAAgByAIEBQAIAcwCBAUACAHRAk0A1AILAwAAAAAAAAAACALYAgsDAAAAAAAAAAAIAdwCCwMAAAAAAAAAAAgB4AIVBdgDDdwDFeADHeQDJegDLewDNfAD5AIHDfQDFfkDcegCCwMAAAAAAAAAAAgE7AIGBf0DcQgE8AIGBf0DcQgE9AIFBAMFgAT4AgIBAPwCDgEGhASIBIwEkASUBJgEgAMEAQGcBIQDAgEAiAMCAQCMAwIBAJADEgEIoASkBKgErASwBLQEuAS8BJQDAgEAmAMOAQbABMQEyATMBNAE1AScAxABB9gE3ATgBOQE6ATsBPAEoAMCAQCkAwQBAfQEqAMKAQT4BPwEgAWEBawDAgEAsAMCAQC0AwIBALgDCAEDiAWMBZAFvAMCAQDGAzNBbHR1YS5PYWsuQ29yZS5UaGVtaW5nLkNvbG9yUG9pbnRlciwgQWx0dWEuT2FrLkNvcmXBA3FQUFD/yQNxUFBQ/8wDBQQDBZQF0AMFBAMFmAXUAwUEAwWcBdgDBwQDBAEACATcAwUEAS4IBOADBAABCATkAwQAAAgE6AMEBAAIBOwDBAQACATwAwQAAAgE9AMFBAMFoAX5A3E+PuX//QNxUFBQ/4AEAgEAhAQOBaUFqgELAAAAAAAAAACIBA4FrQWsAQsAAAAAAAAAAIwEDgW1Ba4BCwAAAAAAAOA/kAQOBb0FsAELAAAAAAAA4D+UBA4FxQWyAQsAAAAAAADgP5gEDgXNBbQBCwAAAAAAAPg/nAQIBdUFsgEN2AWgBAoF3QW4AQ3lBboBpAQKBe0FqgEN8QW9AagECgX5Ba4BDf0FvQGsBAoFgQawAQ2FBr0BsAQJBYkGwwENkQZxtAQKBZUGxgENnQa9AbgECQWhBsYBDaUGcbwECgWpBsYBDa0GvQHABAcFsQbNAQkBxAQHBbkGzwEJAMgEBwXBBs0BCQHMBAcFxQbSAQkB0AQHBc0G1AEJAdQEBwXVBtYBCQHYBAoF3QbYAQ3lBtoB3AQKBe0G3AEN9QbeAeAECgX9BuABDYUH4gHkBAoFjQfgAQ2FB+IB6AQKBZEHzwENlQfmAewECgWdB9QBDZUH5gHwBAoFoQfWAQ2lB+oB9AQKBa0H7AENtQfuAfgECgW9B88BDcEH8QH8BAoFyQfcAQ3NB/EBgAUKBdEH1AEN1QfxAYQFCgXZB9gBDd0H8QGIBQoF4QfNAQ3lB/oBjAUKBe0H0gEN8Qf6AZAFCgX1B6oBDfkH+gGUBQYBAf0HgAKYBQYBAYUIgAKcBQYBAYkIgAKgBQQBAgEEqgVTQWx0dWEuT2FrLkNvcmUuTW9kaWZpY2F0aW9uLlN0eWxpbmcuQWxsVmFsdWVBeGlzQ3VzdG9taXphdGlvblRhcmdldCwgQWx0dWEuT2FrLkNvcmWlBaoBALIFWUFsdHVhLk9hay5Db3JlLk1vZGlmaWNhdGlvbi5TdHlsaW5nLlZhbHVlQXhpc0dyaWRsaW5lc0N1c3RvbWl6YXRpb25UYXJnZXQsIEFsdHVhLk9hay5Db3JlrQWsAQC6BVNBbHR1YS5PYWsuQ29yZS5Nb2RpZmljYXRpb24uU3R5bGluZy5DYXRlZ29yeUF4aXNDdXN0b21pemF0aW9uVGFyZ2V0LCBBbHR1YS5PYWsuQ29yZbUFrgEAwgVQQWx0dWEuT2FrLkNvcmUuTW9kaWZpY2F0aW9uLlN0eWxpbmcuT3JpZ29MaW5lQ3VzdG9taXphdGlvblRhcmdldCwgQWx0dWEuT2FrLkNvcmW9BbABAMoFXUFsdHVhLk9hay5Db3JlLk1vZGlmaWNhdGlvbi5TdHlsaW5nLkFsbENvbm5lY3RvcnNBdXhpbGlhcnlDdXN0b21pemF0aW9uVGFyZ2V0LCBBbHR1YS5PYWsuQ29yZcUFsgEA0gVZQWx0dWEuT2FrLkNvcmUuTW9kaWZpY2F0aW9uLlN0eWxpbmcuU2VyaWVzV2l0aFBsb3RLaW5kQ3VzdG9taXphdGlvblRhcmdldCwgQWx0dWEuT2FrLkNvcmXNBbQBAwWMCNUFsgEA2AUFDAMFkAjiBVZBbHR1YS5PYWsuQ29yZS5Nb2RpZmljYXRpb24uU3R5bGluZy5BbGxTZXJpZXNNYXJrZXJDdXN0b21pemF0aW9uVGFyZ2V0LCBBbHR1YS5PYWsuQ29yZd0FuAEA6gU6QWx0dWEuT2FrLkNvcmUuVGhlbWluZy5CaW5kaW5nQ29sb3JQb2ludGVyLCBBbHR1YS5PYWsuQ29yZeUFugEFBZUIhgLtBaoBAPYFN0FsdHVhLk9hay5Db3JlLlRoZW1pbmcuUGFnZUNvbG9yUG9pbnRlciwgQWx0dWEuT2FrLkNvcmXxBb0BBAAACAD5Ba4BAP0FvQEEAAAIAIEGsAEAhQa9AQQAAAgAjgZTQWx0dWEuT2FrLkNvcmUuTW9kaWZpY2F0aW9uLlN0eWxpbmcuQWxsR3JpZGxpbmVzQ3VzdG9taXphdGlvblRhcmdldCwgQWx0dWEuT2FrLkNvcmWJBsMBAJEGcYCAgP+aBk1BbHR1YS5PYWsuQ29yZS5Nb2RpZmljYXRpb24uU3R5bGluZy5TZXJpZXNDdXN0b21pemF0aW9uVGFyZ2V0LCBBbHR1YS5PYWsuQ29yZZUGxgEUBBIEEJ9TuLlDsuZNiqOeCkCiatKdBr0BBAAJCAChBsYBFAQSBBA5rqFLY+crUa/3h5kmPemopQZx/6Ev/6kGxgEUBBIEEN4S/6C345lRjYGuRrrTzVWtBr0BBAAFCAC2BlhBbHR1YS5PYWsuQ29yZS5Nb2RpZmljYXRpb24uU3R5bGluZy5TZXJpZXNMYWJlbE9mVHlwZUN1c3RvbWl6YXRpb25UYXJnZXQsIEFsdHVhLk9hay5Db3JlsQbNAQIAAr4GWEFsdHVhLk9hay5Db3JlLk1vZGlmaWNhdGlvbi5TdHlsaW5nLkFsbFZhbHVlQXhpc0xhYmVsQ3VzdG9taXphdGlvblRhcmdldCwgQWx0dWEuT2FrLkNvcmW5Bs8BAMEGzQECAADKBlVBbHR1YS5PYWsuQ29yZS5Nb2RpZmljYXRpb24uU3R5bGluZy5BbGxUb3RhbExhYmVsc0N1c3RvbWl6YXRpb25UYXJnZXQsIEFsdHVhLk9hay5Db3JlxQbSAQDSBldBbHR1YS5PYWsuQ29yZS5Nb2RpZmljYXRpb24uU3R5bGluZy5BbGxDYXRlZ29yeUxhYmVsQ3VzdG9taXphdGlvblRhcmdldCwgQWx0dWEuT2FrLkNvcmXNBtQBANoGWEFsdHVhLk9hay5Db3JlLk1vZGlmaWNhdGlvbi5TdHlsaW5nLkFsbEF1eGlsaWFyeUxhYmVsQ3VzdG9taXphdGlvblRhcmdldCwgQWx0dWEuT2FrLkNvcmXVBtYBAOIGWEFsdHVhLk9hay5Db3JlLk1vZGlmaWNhdGlvbi5TdHlsaW5nLkNhdGVnb3J5QXhpc1RpdGxlQ3VzdG9taXphdGlvblRhcmdldCwgQWx0dWEuT2FrLkNvcmXdBtgBAOoGQkFsdHVhLk9hay5Db3JlLlBsb3R0aW5nLkF4aXNUaXRsZUxhYmVsUGxhY2VtZW50RmFyLCBBbHR1YS5PYWsuQ29yZeUG2gECAADyBl1BbHR1YS5PYWsuQ29yZS5Nb2RpZmljYXRpb24uU3R5bGluZy5BbGxWYWx1ZUF4aXNUaXRsZUxhYmVsQ3VzdG9taXphdGlvblRhcmdldCwgQWx0dWEuT2FrLkNvcmXtBtwBAPoGRkFsdHVhLk9hay5Db3JlLlBsb3R0aW5nLkF4aXNUaXRsZUxhYmVsUGxhY2VtZW50T3V0c2lkZSwgQWx0dWEuT2FrLkNvcmX1Bt4BAgABggdfQWx0dWEuT2FrLkNvcmUuTW9kaWZpY2F0aW9uLlN0eWxpbmcuU2VyaWVzTGFiZWxzV2l0aFBsb3RLaW5kQ3VzdG9taXphdGlvblRhcmdldCwgQWx0dWEuT2FrLkNvcmX9BuABBQWcCAgAigc9QWx0dWEuT2FrLkNvcmUuUGxvdHRpbmcuTGFiZWxQbGFjZW1lbnRPdXRzaWRlLCBBbHR1YS5PYWsuQ29yZYUH4gEAjQfgAQUFoAgIAJEHzwEAmgdBQWx0dWEuT2FrLkNvcmUuUGxvdHRpbmcuQXhpc0xhYmVsUGxhY2VtZW50T3V0c2lkZSwgQWx0dWEuT2FrLkNvcmWVB+YBAgEAnQfUAQChB9YBAKoHRkFsdHVhLk9hay5Db3JlLlBsb3R0aW5nLkF1eGlsaWFyeUxhYmVsUGxhY2VtZW50RGVmYXVsdCwgQWx0dWEuT2FrLkNvcmWlB+oBALIHUEFsdHVhLk9hay5Db3JlLk1vZGlmaWNhdGlvbi5TdHlsaW5nLkFsbExhYmVsc0N1c3RvbWl6YXRpb25UYXJnZXQsIEFsdHVhLk9hay5Db3JlrQfsAQC6B0JBbHR1YS5PYWsuQ29yZS5TeW50YXhTdHJ1Y3R1cmUuQWN0dWFsRm9udFNpemVWYWx1ZSwgQWx0dWEuT2FrLkNvcmW1B+4BCQMAAAAAAAAkQL0HzwEAxgdDQWx0dWEuT2FrLkNvcmUuU3ludGF4U3RydWN0dXJlLkFjdHVhbEZvbnRDb2xvclZhbHVlLCBBbHR1YS5PYWsuQ29yZcEH8QEFBaUIvQHJB9wBAM0H8QEFBakIvQHRB9QBANUH8QEFBa0IvQHZB9gBAN0H8QEFBbEIvQHhB80BAgAA6gdGQWx0dWEuT2FrLkNvcmUuU3ludGF4U3RydWN0dXJlLkFjdHVhbE51bWJlckZvcm1hdFZhbHVlLCBBbHR1YS5PYWsuQ29yZeUH+gEFBbUIjgLtB9IBAPEH+gEFBbUIjgL1B6oBAPkH+gEFBbUIjgKCCC9BbHR1YS5EYXRhLkluZnJhc3RydWN0dXJlLlBhcmFncmFwaCwgQWx0dWEuRGF0Yf0HgAIFDAMFvAiFCIACBQwDBcAIiQiAAgUMAwXECIwIAQWQCAoBAgAAgEAAAEBAmghIQWx0dWEuT2FrLkNvcmUuU3ludGF4U3RydWN0dXJlLlBsb3RTZXJpZXNCaW5kaW5nU3RyYXRlZ3ksIEFsdHVhLk9hay5Db3JllQiGAgCcCAIJCqAIAQWlCL0BBAAACACpCL0BBAAACACtCL0BBAAACACxCL0BBAAACAC6CD1BbHR1YS5EYXRhLk51bWJlckZvcm1hdHRpbmcuQ29tcG9zaXRlTnVtYmVyRm9ybWF0LCBBbHR1YS5EYXRhtQiOAgodyAglzAg1UD0AvAgGAQHRCJUCwAgGAQHZCJUCxAgGAQHdCJgCyAgJAAAMAwXkCBEAzAgJAAAMAwXoCBEA1ggvQWx0dWEuRGF0YS5JbmZyYXN0cnVjdHVyZS5OdW1iZXJSdW4sIEFsdHVhLkRhdGHRCJUCEwQOAwAAAAAAoJ9AHe0IjgIN8AjZCJUCEwQOAwAAAAAAnJ9AHe0IjgIN8AjiCC1BbHR1YS5EYXRhLkluZnJhc3RydWN0dXJlLlRleHRSdW4sIEFsdHVhLkRhdGHdCJgCCgQFTm9yZ2UN9AjkCAYBAfkInwLoCAoBAoEJoQKJCZ8C7QiOAgsdjAklkAk1lAk9APAIEgQAHAAkACwANAA8AEwAVABdAPQIEgQAHAAkACwANAA8AEwAVABdAP4IQEFsdHVhLkRhdGEuTnVtYmVyRm9ybWF0dGluZy5OdW1iZXJGb3JtYXRWYWx1ZVNlZ21lbnQsIEFsdHVhLkRhdGH5CJ8CBQQDBZgJhgk/QWx0dWEuRGF0YS5OdW1iZXJGb3JtYXR0aW5nLk51bWJlckZvcm1hdFRleHRTZWdtZW50LCBBbHR1YS5EYXRhgQmhAgUEAS0JAYkJnwIFBAMFnAmMCQkAAAwDBaAJEQCQCQkAAAwDBaQJEQCUCQoEASwMAS4UAmtymAkGAQGpCasCnAkGAQGpCasCoAkGAQGxCa0CpAkKAQK5CaECvQmtAq4JOUFsdHVhLkRhdGEuTnVtYmVyRm9ybWF0dGluZy5OdW1iZXJQbGFjZWhvbGRlciwgQWx0dWEuRGF0YakJqwIFAjAAAAC2CUJBbHR1YS5EYXRhLk51bWJlckZvcm1hdHRpbmcuTnVtYmVyRm9ybWF0R2VuZXJhbFNlZ21lbnQsIEFsdHVhLkRhdGGxCa0CALkJoQIFBAEtCQG9Ca0CAA=="/>
  <p:tag name="GRUNT-SYNC" val="6e49d160239140e5bdffe532fdc37c0b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b16fe469-ef1a-43c0-9f36-f784c8094543"/>
  <p:tag name="GRUNT-X-RESOURCES" val="AQIFBAQEAgEA"/>
  <p:tag name="GRUNT-VERSION" val="20.24.1.0"/>
  <p:tag name="GRUNT-VERSION-2" val="2024.1-r2-4069"/>
  <p:tag name="GRUNT-RENDERHASH" val="ac79f72e3ffb6b4b294b926f3328eaaf-svg"/>
  <p:tag name="GRUNT-X-SHAPEBOUNDS" val="ASIBBAAAACDfSHhAAAAAAN//X0AAAADgTUplQAAAAOC1bTVAAA=="/>
  <p:tag name="GRUNT-X-PAGEOBJECT" val="AQUCswIKPkFsdHVhLk9hay5Db3JlLkRvY3VtZW50TW9kZWwuQ2hhcnRMZWdlbmRPYmplY3QsIEFsdHVhLk9hay5Db3JlBQI5BBIEEH8MHhB440FKqVg6iCSn6rYUEgQQlwH918wXJUCsclEcT+MpdC0MNRBEAgUUSABVGQdlIG0kDAQEAgUoEAIFLBQCAQAeUEFsdHVhLk9hay5Db3JlLkRvY3VtZW50TW9kZWwuVGVtcGxhdGluZy5DdXN0b21Qb3NpdGlvbkRlZmluaXRpb24sIEFsdHVhLk9hay5Db3JlGQckBCIBBExYbxTfSHhACO/+8d7/X0AoShzYTUplQKD//+e1bTVAIAsFMAwFbmItTk8VNCQEAQEJASgCAQAsADAKBAEsDAEgFAJrcjQJBAVuYi1OTwgB"/>
  <p:tag name="GRUNT-SYNC" val="c992880a16804096aff3778ec07e93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1035d0cf-69f2-446d-9e23-9278da18418b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yQ8KN0FsdHVhLkRhdGEuRGF0YVNlcnZpY2VzLkVtYmVkZGVkRGF0YVNlcnZpY2UsIEFsdHVhLkRhdGEFAhkEEgQQUIU5g9P6y0G+JefcSCS+3A0MJREFDAYFGAgSEAcWQUFsdHVhLkRhdGEuRGF0YVNlcnZpY2VzLkVtYmVkZGVkRGF0YVNlcnZpY2VFZGl0b3JEYXRhLCBBbHR1YS5EYXRhEQUEBRwNIBgGBSQNKBUsHDwdBBIEENNz8cQb9wFOoDLwDWItJDkLAAAAAAAAHEAdBBIEEB/rjDimIctLiTIXQgTfWDQLAAAAAAAgYkAgWh0EEgQQBbe507cO9EmRZBhNRm5FrAsAAAAAAAAyQB0EEgQQhB+R4huFNUGwuFZrPUlJDwsAAAAAAAAyQB0EEgQQ+SxZ/v3fb0W5/mfTI9KrIwsAAAAAAAAyQCQDMDQ4KAI8QCyOAiwEKAQSBBDajSsQe0+aTJlGK/NOL/gcDBIEEF+XkJfEWrtCmxAwBnFOxVkNRCwEKAQSBBB1npiRXEMrR4CNoMsd75TjDBIEEF+XkJfEWrtCmxAwBnFOxVkNSCwEKAQSBBAf64w4piHLS4kyF0IE31g0DBIEEOjcGhWyCfxHkHpCy/xxYFsNTCwEKAQSBBAf64w4piHLS4kyF0IE31g0DBIEEF+XkJfEWrtCmxAwBnFOxVkNUCwEKAQSBBDajSsQe0+aTJlGK/NOL/gcDBIEEOjcGhWyCfxHkHpCy/xxYFsNVCwEKAQSBBB1npiRXEMrR4CNoMsd75TjDBIEEOjcGhWyCfxHkHpCy/xxYFsNWDAaBBIEENqNKxB7T5pMmUYr804v+BwMAkMxGQE0GgQSBBAf64w4piHLS4kyF0IE31g0DAJDMhkBOBoEEgQQdZ6YkVxDK0eAjaDLHe+U4wwCQzMZATwaBBIEEF+XkJfEWrtCmxAwBnFOxVkMAlIxGQFAGgQSBBDo3BoVsgn8R5B6Qsv8cWBbDAJSMhkBRAQNXBVgSAQNXBVkTAQNXBVoUAQNXBVsVAQNXBVwWAQNXBV0XAIEAGAEBAIFeGQEBAIFfGgFBAMFgAFsBQQDBYQBcAUEAwWIAXQFBAMFjAF4AgEAfAUBAZEBJYABBQEBmQElhAEFAQGdASWIAQUBAaEBJYwBBQEBpQEllgEvQWx0dWEuRGF0YS5JbmZyYXN0cnVjdHVyZS5QYXJhZ3JhcGgsIEFsdHVhLkRhdGGRASUFDAMFqAGZASUFDAMFrAGdASUFDAMFsAGhASUFDAMFtAGlASUFDAMFuAGoAQUBAb0BMKwBBQEBxQEwsAEFAQHJATC0AQUBAc0BNLgBBQEB1QEwwgEvQWx0dWEuRGF0YS5JbmZyYXN0cnVjdHVyZS5OdW1iZXJSdW4sIEFsdHVhLkRhdGG9ATASBA0DAAAAAACgn0Ad2QE3DeABxQEwEgQNAwAAAAAAAD5AHeUBNw3oAckBMBIEDQMAAAAAAJyfQB3tATcN8AHSAS1BbHR1YS5EYXRhLkluZnJhc3RydWN0dXJlLlRleHRSdW4sIEFsdHVhLkRhdGHNATQjBB5UcsO4bmRlbGFnIG9nIE3DuHJlIG9nIFJvbXNkYWwN9AHVATASBA0DAAAAAACAQ0Ad+QE3DfwB3gE9QWx0dWEuRGF0YS5OdW1iZXJGb3JtYXR0aW5nLkNvbXBvc2l0ZU51bWJlckZvcm1hdCwgQWx0dWEuRGF0YdkBNwsdgAIlhAI1iAI9AOABEgQAHAAkACwANAA8AEwAVABdAOUBNwsdjAIlkAI1lAI9AOgBEgQAHAAkACwANAA8AEwAVABdAO0BNwsdmAIlnAI1oAI9APABEgQAHAAkACwANAA8AEwAVABdAPQBEgQAHAAkACwANAA8AEwAVABdAPkBNwsdpAIlqAI1rAI9APwBEgQAHAAkACwANAA8AEwAVABdAIACCQAADAMFsAIRAIQCCQAADAMFtAIRAIgCCgQBLAwBLhQCa3KMAgkAAAwDBbgCEQCQAgkAAAwDBbwCEQCUAgoEASwMAS4UAmtymAIJAAAMAwXAAhEAnAIJAAAMAwXEAhEAoAIKBAEsDAEuFAJrcqQCCQAADAMFyAIRAKgCCQAADAMFzAIRAKwCCgQBLAwBLhQCa3KwAgUBAdECVbQCCAEC2QJX0QJVuAIFAQHhAlW8AggBAuUCV+ECVcACBQEB6QJVxAIIAQLtAlfpAlXIAgUBAfECVcwCCAEC9QJX8QJV1gJAQWx0dWEuRGF0YS5OdW1iZXJGb3JtYXR0aW5nLk51bWJlckZvcm1hdFZhbHVlU2VnbWVudCwgQWx0dWEuRGF0YdECVQUEAwX4At4CP0FsdHVhLkRhdGEuTnVtYmVyRm9ybWF0dGluZy5OdW1iZXJGb3JtYXRUZXh0U2VnbWVudCwgQWx0dWEuRGF0YdkCVwUEAS0JAeECVQUEAwX8AuUCVwUEAS0JAekCVQUEAwWAA+0CVwUEAS0JAfECVQUEAwWEA/UCVwUEAS0JAfgCBQEBiQNj/AIFAQGJA2OAAwUBAYkDY4QDBQEBiQNjjgM5QWx0dWEuRGF0YS5OdW1iZXJGb3JtYXR0aW5nLk51bWJlclBsYWNlaG9sZGVyLCBBbHR1YS5EYXRhiQNjBQIwAAAA"/>
  <p:tag name="GRUNT-RENDERHASH" val="de6484a754d2d7d5221ee41157807aae-svg"/>
  <p:tag name="GRUNT-X-SHAPEBOUNDS" val="ASIBBAAAAKACgEFAAAAAIFMYbkAAAAAANMVxQAAAAMCcgWNAAA=="/>
  <p:tag name="GRUNT-X-PAGEOBJECT" val="AQUCjTEKOEFsdHVhLk9hay5Db3JlLkRvY3VtZW50TW9kZWwuQ2hhcnRPYmplY3QsIEFsdHVhLk9hay5Db3JlBQI1BBIEEHqSEoNP45lLnVv1BAEgQfQMEgQQUIU5g9P6y0G+JefcSCS+3BUNBCUUNRg9HFUgZSQSUEFsdHVhLk9hay5Db3JlLkRvY3VtZW50TW9kZWwuVGVtcGxhdGluZy5DdXN0b21Qb3NpdGlvbkRlZmluaXRpb24sIEFsdHVhLk9hay5Db3JlDQQkBCIBBAAAAKACoEFAOSy58I8ScEBHP8/4M71xQFRmpFQGUF5AFBMVKB0sNTA4AEU1DlU8XUBkAgVEGAQEAgVIHAIFTCALBVAMBW5iLU5PFVQkEAEBCQERARkBIQEpATEBOQAoFgQSBBAAAAAAAAAAAAAAAAAAAAAACAEsFgQSBBAAAAAAAAAAAAAAAAAAAAAACAEwADpHQWx0dWEuT2FrLkNvcmUuQ2hhcnQuQ2x1c3RlcmVkQmFyV2l0aExpbmVQbG90RGVmaW5pdGlvbiwgQWx0dWEuT2FrLkNvcmU1DjUEEgQQV585QpCzyE6E1ApHACu/Ph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W9AH4AfwBgAKEAogCjAKQApQCmAKcAogBSQQSBBA5rqFLY+crUa/3h5kmPemoDBIEEOa0e4PHZeZMgpL48ruQqtkVoAIcEgQQ6NwaFbIJ/EeQekLL/HFgWyQBAS2kAjWpAkuMAUkEEgQQ3hL/oLfjmVGNga5GutPNVQwSBBDmtHuDx2XmTIKS+PK7kKrZFbACHBIEEPksWf79329Fuf5n0yPSqyMkAQEttAI1qQJLkAFCAQAYAyW4AikAMQBAAEgCVbwCXcACZBIEEOa0e4PHZeZMgpL48ruQqtltxAJ1yAKNAcwCkQEBnQHQAqUB1AK1AdgClAECAQCYAQUEAwXcApwBBQQDBeACoAEFBAMF5AKkAQUEAwXoAqgBBQQDBdwCrAEFBAMF3AKwAQUEAwXsArQBBQQDBfACuAEFBAMF9AK8AQUEAwX4AsABBQQDBfwCxAEFBAMFgAPIAQUEAwWEA8wBBQQDBYgD0AEFBAMFjAPUAQUEAwWQA9gBBQQDBZQD3AEFBAMFmAPgAQUEAwWcA+QBBQQDBaAD6AECAQDsAQYFpQNqCATwAQYFrQNqCAT0ASsEEgQQtnl8ctBB8lCqeXW5srpkmwwSBBAf64w4piHLS4kyF0IE31g0HAEB+AErBBIEEK3xkaMagnVfuHWmb/AH5o0MEgQQdZ6YkVxDK0eAjaDLHe+U4xwBAfwBKwQSBBAUgTfa/GNkVrpdQgis1b/wDBIEEDN2LlbKrM9DuJ/41/dD8iIcAQGAAisEEgQQd2MwujbKQFSz3yjnTKcylwwSBBBZn2HmWJE/SIQqnrz3HmVGHAEBhAIrBBIEED1DZfZn2ddWnpP2n9ATgkIMEgQQ5PInsc7xekOZNXqmuIfDUhwBAYgCKwQSBBCD+4py9nD8QKBTKFF6ohauDBIEEJvzN8z2MBhPpn+BGWPNv6ocAQGMAisEEgQQUp3Hd2NQf0aKrpw65Q0tWAwSBBC/BNzlG01aS63JT5V8CUTVHAEBkAIrBBIEEJcFcGzx2fpNmxxZeq8thPUMEgQQHQWFMRz7TkSitZTvRM8LzhwBAZQCKwQSBBBrSd+3cy9oT6p3sNZBUA3rDBIEEPvRt2941KNPtNbA4wnNe0kcAQGYAisEEgQQ4ikfsnaK4EuJU/fmpsixuQwSBBDoAmmIksVpR4Wcmdp5Uj9+HAEBnAIrBBIEEEAq3kmQwJxKnB8PlG7IsdMMEgQQ2l47+0cTPky0l42NcMy3CBwBAaACBQWwAwgBpAIEBQAIAa4CPkFsdHVhLk9hay5Db3JlLkNoYXJ0LkRlZmF1bHRQbG90U2VyaWVzU2V0dGluZ3MsIEFsdHVhLk9hay5Db3JlqQJLALACBQW0AwgBtAIEBQAIAbgCCwMAAAAAAAAAAAgCvAILAwAAAAAAAAAACAHAAgsDAAAAAAAAAAAIAcQCFQW4Aw28AxXAAx3EAyXIAy3MAzXQA8gCBw3UAxXZA2rMAgsDAAAAAAAAAAAIBNACBgXdA2oIBNQCBgXdA2oIBNgCBQQDBeAD3AICAQDgAg4BBuQD6APsA/AD9AP4A+QCBAEB/APoAgIBAOwCAgEA8AICAQD0AhIBCIAEhASIBIwEkASUBJgEnAT4AgIBAPwCDgEGoASkBKgErASwBLQEgAMQAQe4BLwEwATEBMgEzATQBIQDAgEAiAMEAQHUBIwDCgEE2ATcBOAE5ASQAwIBAJQDAgEAmAMCAQCcAwIBAKADAgEAqgMzQWx0dWEuT2FrLkNvcmUuVGhlbWluZy5Db2xvclBvaW50ZXIsIEFsdHVhLk9hay5Db3JlpQNqUFBQ/60DalBQUP+wAwUEAwXoBLQDBQQDBewEuAMHBAMEAQAIBLwDBQQBLggEwAMEAAEIBMQDBAAACATIAwQEAAgEzAMEBAAIBNADBAAACATUAwUEAwXwBNkDaj4+5f/dA2pQUFD/4AMCAQDkAw4F9QSeAQsAAAAAAAAAAOgDDgX9BKABCwAAAAAAAAAA7AMOBYUFogELAAAAAAAA4D/wAw4FjQWkAQsAAAAAAADgP/QDDgWVBaYBCwAAAAAAAOA/+AMOBZ0FqAELAAAAAAAA+D/8AwgFpQWmAQ2oBYAECgWtBawBDbUFrgGEBAoFvQWeAQ3BBbEBiAQKBckFogENzQWxAYwECgXRBaQBDdUFsQGQBAkF2QW3AQ3hBWqUBAoF5QW6AQ3tBbEBmAQJBfEFugEN9QVqnAQKBfkFvwENgQaxAaAEBwWFBsIBCQGkBAcFjQbEAQkAqAQHBZUGwgEJAawEBwWZBscBCQGwBAcFoQbJAQkBtAQHBakGywEJAbgECgWxBs0BDbkGzwG8BAoFwQbRAQ3JBtMBwAQKBdEG1QEN2QbXAcQECgXhBtUBDdkG1wHIBAoF5QbEAQ3pBtsBzAQKBfEGyQEN6QbbAdAECgX1BssBDfkG3wHUBAoFgQfhAQ2JB+MB2AQKBZEHxAENlQfmAdwECgWdB9EBDaEH5gHgBAoFpQfJAQ2pB+YB5AQKBa0HzQENsQfmAegEBgEBtQfuAewEBgEBvQfuAfAEBAECAQT6BFNBbHR1YS5PYWsuQ29yZS5Nb2RpZmljYXRpb24uU3R5bGluZy5BbGxWYWx1ZUF4aXNDdXN0b21pemF0aW9uVGFyZ2V0LCBBbHR1YS5PYWsuQ29yZfUEngEAggVZQWx0dWEuT2FrLkNvcmUuTW9kaWZpY2F0aW9uLlN0eWxpbmcuVmFsdWVBeGlzR3JpZGxpbmVzQ3VzdG9taXphdGlvblRhcmdldCwgQWx0dWEuT2FrLkNvcmX9BKABAIoFU0FsdHVhLk9hay5Db3JlLk1vZGlmaWNhdGlvbi5TdHlsaW5nLkNhdGVnb3J5QXhpc0N1c3RvbWl6YXRpb25UYXJnZXQsIEFsdHVhLk9hay5Db3JlhQWiAQCSBVBBbHR1YS5PYWsuQ29yZS5Nb2RpZmljYXRpb24uU3R5bGluZy5Pcmlnb0xpbmVDdXN0b21pemF0aW9uVGFyZ2V0LCBBbHR1YS5PYWsuQ29yZY0FpAEAmgVdQWx0dWEuT2FrLkNvcmUuTW9kaWZpY2F0aW9uLlN0eWxpbmcuQWxsQ29ubmVjdG9yc0F1eGlsaWFyeUN1c3RvbWl6YXRpb25UYXJnZXQsIEFsdHVhLk9hay5Db3JllQWmAQCiBVlBbHR1YS5PYWsuQ29yZS5Nb2RpZmljYXRpb24uU3R5bGluZy5TZXJpZXNXaXRoUGxvdEtpbmRDdXN0b21pemF0aW9uVGFyZ2V0LCBBbHR1YS5PYWsuQ29yZZ0FqAEDBcAHpQWmAQCoBQUMAwXEB7IFVkFsdHVhLk9hay5Db3JlLk1vZGlmaWNhdGlvbi5TdHlsaW5nLkFsbFNlcmllc01hcmtlckN1c3RvbWl6YXRpb25UYXJnZXQsIEFsdHVhLk9hay5Db3JlrQWsAQC6BTpBbHR1YS5PYWsuQ29yZS5UaGVtaW5nLkJpbmRpbmdDb2xvclBvaW50ZXIsIEFsdHVhLk9hay5Db3JltQWuAQUFyQfzAb0FngEAxgU3QWx0dWEuT2FrLkNvcmUuVGhlbWluZy5QYWdlQ29sb3JQb2ludGVyLCBBbHR1YS5PYWsuQ29yZcEFsQEEAAAIAMkFogEAzQWxAQQAAAgA0QWkAQDVBbEBBAAACADeBVNBbHR1YS5PYWsuQ29yZS5Nb2RpZmljYXRpb24uU3R5bGluZy5BbGxHcmlkbGluZXNDdXN0b21pemF0aW9uVGFyZ2V0LCBBbHR1YS5PYWsuQ29yZdkFtwEA4QVqgICA/+oFTUFsdHVhLk9hay5Db3JlLk1vZGlmaWNhdGlvbi5TdHlsaW5nLlNlcmllc0N1c3RvbWl6YXRpb25UYXJnZXQsIEFsdHVhLk9hay5Db3Jl5QW6ARQEEgQQ3hL/oLfjmVGNga5GutPNVe0FsQEEAAkIAPEFugEUBBIEEDmuoUtj5ytRr/eHmSY96aj1BWr/oS///gVQQWx0dWEuT2FrLkNvcmUuTW9kaWZpY2F0aW9uLlN0eWxpbmcuRGF0YVBvaW50Q3VzdG9taXphdGlvblRhcmdldCwgQWx0dWEuT2FrLkNvcmX5Bb8BKAQSBBA5rqFLY+crUa/3h5kmPemoDBIEEK3xkaMagnVfuHWmb/AH5o2BBrEBBAAFCACKBlhBbHR1YS5PYWsuQ29yZS5Nb2RpZmljYXRpb24uU3R5bGluZy5TZXJpZXNMYWJlbE9mVHlwZUN1c3RvbWl6YXRpb25UYXJnZXQsIEFsdHVhLk9hay5Db3JlhQbCAQIAApIGWEFsdHVhLk9hay5Db3JlLk1vZGlmaWNhdGlvbi5TdHlsaW5nLkFsbFZhbHVlQXhpc0xhYmVsQ3VzdG9taXphdGlvblRhcmdldCwgQWx0dWEuT2FrLkNvcmWNBsQBAJUGwgECAACeBlVBbHR1YS5PYWsuQ29yZS5Nb2RpZmljYXRpb24uU3R5bGluZy5BbGxUb3RhbExhYmVsc0N1c3RvbWl6YXRpb25UYXJnZXQsIEFsdHVhLk9hay5Db3JlmQbHAQCmBldBbHR1YS5PYWsuQ29yZS5Nb2RpZmljYXRpb24uU3R5bGluZy5BbGxDYXRlZ29yeUxhYmVsQ3VzdG9taXphdGlvblRhcmdldCwgQWx0dWEuT2FrLkNvcmWhBskBAK4GWEFsdHVhLk9hay5Db3JlLk1vZGlmaWNhdGlvbi5TdHlsaW5nLkFsbEF1eGlsaWFyeUxhYmVsQ3VzdG9taXphdGlvblRhcmdldCwgQWx0dWEuT2FrLkNvcmWpBssBALYGWEFsdHVhLk9hay5Db3JlLk1vZGlmaWNhdGlvbi5TdHlsaW5nLkNhdGVnb3J5QXhpc1RpdGxlQ3VzdG9taXphdGlvblRhcmdldCwgQWx0dWEuT2FrLkNvcmWxBs0BAL4GRkFsdHVhLk9hay5Db3JlLlBsb3R0aW5nLkF4aXNUaXRsZUxhYmVsUGxhY2VtZW50T3V0c2lkZSwgQWx0dWEuT2FrLkNvcmW5Bs8BAgABxgZdQWx0dWEuT2FrLkNvcmUuTW9kaWZpY2F0aW9uLlN0eWxpbmcuQWxsVmFsdWVBeGlzVGl0bGVMYWJlbEN1c3RvbWl6YXRpb25UYXJnZXQsIEFsdHVhLk9hay5Db3JlwQbRAQDOBkJBbHR1YS5PYWsuQ29yZS5QbG90dGluZy5BeGlzVGl0bGVMYWJlbFBsYWNlbWVudEZhciwgQWx0dWEuT2FrLkNvcmXJBtMBAgAA1gZfQWx0dWEuT2FrLkNvcmUuTW9kaWZpY2F0aW9uLlN0eWxpbmcuU2VyaWVzTGFiZWxzV2l0aFBsb3RLaW5kQ3VzdG9taXphdGlvblRhcmdldCwgQWx0dWEuT2FrLkNvcmXRBtUBBQXQBwgA3gY9QWx0dWEuT2FrLkNvcmUuUGxvdHRpbmcuTGFiZWxQbGFjZW1lbnRPdXRzaWRlLCBBbHR1YS5PYWsuQ29yZdkG1wEA4QbVAQUF1AcIAOUGxAEA7gZBQWx0dWEuT2FrLkNvcmUuUGxvdHRpbmcuQXhpc0xhYmVsUGxhY2VtZW50T3V0c2lkZSwgQWx0dWEuT2FrLkNvcmXpBtsBAgEA8QbJAQD1BssBAP4GRkFsdHVhLk9hay5Db3JlLlBsb3R0aW5nLkF1eGlsaWFyeUxhYmVsUGxhY2VtZW50RGVmYXVsdCwgQWx0dWEuT2FrLkNvcmX5Bt8BAIYHUEFsdHVhLk9hay5Db3JlLk1vZGlmaWNhdGlvbi5TdHlsaW5nLkFsbExhYmVsc0N1c3RvbWl6YXRpb25UYXJnZXQsIEFsdHVhLk9hay5Db3JlgQfhAQCOB0JBbHR1YS5PYWsuQ29yZS5TeW50YXhTdHJ1Y3R1cmUuQWN0dWFsRm9udFNpemVWYWx1ZSwgQWx0dWEuT2FrLkNvcmWJB+MBCQMAAAAAAAAoQJEHxAEAmgdDQWx0dWEuT2FrLkNvcmUuU3ludGF4U3RydWN0dXJlLkFjdHVhbEZvbnRDb2xvclZhbHVlLCBBbHR1YS5PYWsuQ29yZZUH5gEFBdkHsQGdB9EBAKEH5gEFBd0HsQGlB8kBAKkH5gEFBeEHsQGtB80BALEH5gEFBeUHsQG6By9BbHR1YS5EYXRhLkluZnJhc3RydWN0dXJlLlBhcmFncmFwaCwgQWx0dWEuRGF0YbUH7gEFDAMF6Ae9B+4BBQwDBewHwAcBBcQHCgECAACAQAAAQEDOB0hBbHR1YS5PYWsuQ29yZS5TeW50YXhTdHJ1Y3R1cmUuUGxvdFNlcmllc0JpbmRpbmdTdHJhdGVneSwgQWx0dWEuT2FrLkNvcmXJB/MBANAHAgkK1AcBBdkHsQEEAAAIAN0HsQEEAAAIAOEHsQEEAAAIAOUHsQEEAAAIAOgHBgEB8Qf9AewHBgEB+Qf/AfYHL0FsdHVhLkRhdGEuSW5mcmFzdHJ1Y3R1cmUuTnVtYmVyUnVuLCBBbHR1YS5EYXRh8Qf9ARMEDgMAAAAAAKCfQB2BCIECDYgI/gctQWx0dWEuRGF0YS5JbmZyYXN0cnVjdHVyZS5UZXh0UnVuLCBBbHR1YS5EYXRh+Qf/AQoEBU5vcmdlDYwIhgg9QWx0dWEuRGF0YS5OdW1iZXJGb3JtYXR0aW5nLkNvbXBvc2l0ZU51bWJlckZvcm1hdCwgQWx0dWEuRGF0YYEIgQILHZAIJZQINZgIPQCICBIEABwAJAAsADQAPABMAFQAXQCMCBIEABwAJAAsADQAPABMAFQAXQCQCAkAAAwDBZwIEQCUCAkAAAwDBaAIEQCYCAoEASwMAS4UAmtynAgGAQGlCIoCoAgKAQKtCIwCpQiKAqoIQEFsdHVhLkRhdGEuTnVtYmVyRm9ybWF0dGluZy5OdW1iZXJGb3JtYXRWYWx1ZVNlZ21lbnQsIEFsdHVhLkRhdGGlCIoCBQQDBbQIsgg/QWx0dWEuRGF0YS5OdW1iZXJGb3JtYXR0aW5nLk51bWJlckZvcm1hdFRleHRTZWdtZW50LCBBbHR1YS5EYXRhrQiMAgUEAS0JAbQIBgEBuQiPAr4IOUFsdHVhLkRhdGEuTnVtYmVyRm9ybWF0dGluZy5OdW1iZXJQbGFjZWhvbGRlciwgQWx0dWEuRGF0YbkIjwIFAjAAAAA="/>
  <p:tag name="GRUNT-SYNC" val="12ea882339f44f60a8476891d7e46c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0R4KN0FsdHVhLkRhdGEuRGF0YVNlcnZpY2VzLkVtYmVkZGVkRGF0YVNlcnZpY2UsIEFsdHVhLkRhdGEFAhkEEgQQ+KILMURTKEiwjkzuWplIEQ0MJREFDAYFGAgUEAoWQUFsdHVhLkRhdGEuRGF0YVNlcnZpY2VzLkVtYmVkZGVkRGF0YVNlcnZpY2VFZGl0b3JEYXRhLCBBbHR1YS5EYXRhEQUEBRwNIBgGBSQNKBUsHDwdBBIEENNz8cQb9wFOoDLwDWItJDkLAAAAAAAAHEAdBBIEEB/rjDimIctLiTIXQgTfWDQLAAAAAAAgYkAgeB0EEgQQBbe507cO9EmRZBhNRm5FrAsAAAAAAAAyQB0EEgQQhB+R4huFNUGwuFZrPUlJDwsAAAAAAAAyQB0EEgQQ+SxZ/v3fb0W5/mfTI9KrIwsAAAAAAAAyQB0EEgQQpMGu42cTaEKoGY8xflruyQsAAAAAAAAyQCQFMDQ4PEAoA0RITCymBSwEKAQSBBDajSsQe0+aTJlGK/NOL/gcDBIEEF+XkJfEWrtCmxAwBnFOxVkNUCwEKAQSBBB1npiRXEMrR4CNoMsd75TjDBIEEF+XkJfEWrtCmxAwBnFOxVkNVCwEKAQSBBAf64w4piHLS4kyF0IE31g0DBIEEBF5bi6YHOlPpT4SGa3b+1UNWCwEKAQSBBAf64w4piHLS4kyF0IE31g0DBIEEOjcGhWyCfxHkHpCy/xxYFsNXCwEKAQSBBDiZ4LqncAVT7eeYK508WqGDBIEEF+XkJfEWrtCmxAwBnFOxVkNYCwEKAQSBBAf64w4piHLS4kyF0IE31g0DBIEEF+XkJfEWrtCmxAwBnFOxVkNZCwEKAQSBBD3DW6nGDeySJvO+xOVXgd1DBIEEF+XkJfEWrtCmxAwBnFOxVkNaCwEKAQSBBB1npiRXEMrR4CNoMsd75TjDBIEEBF5bi6YHOlPpT4SGa3b+1UNbCwEKAQSBBD3DW6nGDeySJvO+xOVXgd1DBIEEBF5bi6YHOlPpT4SGa3b+1UNcCwEKAQSBBDiZ4LqncAVT7eeYK508WqGDBIEEBF5bi6YHOlPpT4SGa3b+1UNdCwEKAQSBBDajSsQe0+aTJlGK/NOL/gcDBIEEBF5bi6YHOlPpT4SGa3b+1UNeCwEKAQSBBD3DW6nGDeySJvO+xOVXgd1DBIEEOjcGhWyCfxHkHpCy/xxYFsNfC0EKAQSBBDiZ4LqncAVT7eeYK508WqGDBIEEOjcGhWyCfxHkHpCy/xxYFsNgAEtBCgEEgQQ2o0rEHtPmkyZRivzTi/4HAwSBBDo3BoVsgn8R5B6Qsv8cWBbDYQBLQQoBBIEEHWemJFcQytHgI2gyx3vlOMMEgQQ6NwaFbIJ/EeQekLL/HFgWw2IATAaBBIEENqNKxB7T5pMmUYr804v+BwMAkMxGQE0GgQSBBAf64w4piHLS4kyF0IE31g0DAJDMhkBOBoEEgQQdZ6YkVxDK0eAjaDLHe+U4wwCQzMZATwbBBIEEPcNbqcYN7JIm877E5VeB3UMA0MxOBkBQBsEEgQQ4meC6p3AFU+3nmCudPFqhgwDQzE5GQFEGgQSBBBfl5CXxFq7QpsQMAZxTsVZDAJSMRkBSBoEEgQQ6NwaFbIJ/EeQekLL/HFgWwwCUjIZAUwaBBIEEBF5bi6YHOlPpT4SGa3b+1UMAlI3GQFQBg2MARWQAVQGDYwBFZQBWAYNmAEVnAFcBg2MARWgAWAGDZgBFaQBZAYNjAEVqAFoBg2YARWsAWwGDZgBFbABcAYNmAEVtAF0Bg2YARW4AXgGDZgBFbwBfAYNmAEVwAGAAQYNmAEVxAGEAQYNjAEVyAGIAQYNjAEVzAGMAQIEAJABBQQDBdABlAEFBAMF1AGYAQIEAJwBBQQDBdgBoAEFBAMF3AGkAQUEAwXgAagBBQQDBeQBrAEFBAMF6AGwAQUEAwXsAbQBBQQDBfABuAEFBAMF9AG8AQUEAwX4AcABBQQDBfwBxAEFBAMFgALIAQUEAwWEAswBBQQDBYgC0AECAQDUAQUBAY0CRNgBBQEBlQJE3AEFAQGZAkTgAQUBAZ0CROQBBQEBoQJE6AEFAQGlAkTsAQUBAakCRPABBQEBrQJE9AEFAQGxAkT4AQUBAbUCRPwBBQEBuQJEgAIFAQG9AkSEAgUBAcECRIgCBQEBxQJEkgIvQWx0dWEuRGF0YS5JbmZyYXN0cnVjdHVyZS5QYXJhZ3JhcGgsIEFsdHVhLkRhdGGNAkQFDAMFyAKVAkQFDAMFzAKZAkQFDAMF0AKdAkQFDAMF1AKhAkQFDAMF2AKlAkQFDAMF3AKpAkQFDAMF4AKtAkQFDAMF5AKxAkQFDAMF6AK1AkQFDAMF7AK5AkQFDAMF8AK9AkQFDAMF9ALBAkQFDAMF+ALFAkQFDAMF/ALIAgUBAYEDYcwCBQEBiQNj0AIFAQGRA2PUAgUBAZUDYdgCBQEBmQNh3AIFAQGdA2HgAgUBAaEDY+QCBQEBpQNj6AIFAQGpA2PsAgUBAa0DY/ACBQEBsQNj9AIFAQG1A2P4AgUBAbkDY/wCBQEBvQNjhgMtQWx0dWEuRGF0YS5JbmZyYXN0cnVjdHVyZS5UZXh0UnVuLCBBbHR1YS5EYXRhgQNhFAQPVHLDuG5kZWxhZyBTw7hyDcADjgMvQWx0dWEuRGF0YS5JbmZyYXN0cnVjdHVyZS5OdW1iZXJSdW4sIEFsdHVhLkRhdGGJA2MSBA0DAAAAAAAAPUAdxQNyDcwDkQNjEgQNAwAAAAAAADtAHdEDcg3UA5UDYQoEBU5vcmdlDdgDmQNhFAQPVHLDuG5kZWxhZyBOb3JkDdwDnQNhFQQQTcO4cmUgb2cgUm9tc2RhbA3AA6EDYxIEDQMAAAAAAIBAQB3hA3IN5AOlA2MSBA0DAAAAAAAAPUAd6QNyDewDqQNjEgQNAwAAAAAAAEJAHfEDcg30A60DYxIEDQMAAAAAAJyfQB35A3IN/AOxA2MSBA0DAAAAAACARUAdgQRyDYQEtQNjEgQNAwAAAAAAAENAHYkEcg2MBLkDYxIEDQMAAAAAAKCfQB2RBHINlAS9A2MSBA0DAAAAAAAARkAdmQRyDZwEwAMSBAAcACQALAA0ADwATABUAF0AygM9QWx0dWEuRGF0YS5OdW1iZXJGb3JtYXR0aW5nLkNvbXBvc2l0ZU51bWJlckZvcm1hdCwgQWx0dWEuRGF0YcUDcgsdoAQlpAQ1qAQ9AMwDEgQAHAAkACwANAA8AEwAVABdANEDcgsdrAQlsAQ1tAQ9ANQDEgQAHAAkACwANAA8AEwAVABdANgDEgQAHAAkACwANAA8AEwAVABdANwDEgQAHAAkACwANAA8AEwAVABdAOEDcgsduAQlvAQ1wAQ9AOQDEgQAHAAkACwANAA8AEwAVABdAOkDcgsdxAQlyAQ1zAQ9AOwDEgQAHAAkACwANAA8AEwAVABdAPEDcgsd0AQl1AQ12AQ9APQDEgQAHAAkACwANAA8AEwAVABdAPkDcgsd3AQl4AQ15AQ9APwDEgQAHAAkACwANAA8AEwAVABdAIEEcgsd6AQl7AQ18AQ9AIQEEgQAHAAkACwANAA8AEwAVABdAIkEcgsd9AQl+AQ1/AQ9AIwEEgQAHAAkACwANAA8AEwAVABdAJEEcgsdgAUlhAU1iAU9AJQEEgQAHAAkACwANAA8AEwAVABdAJkEcgsdjAUlkAU1lAU9AJwEEgQAHAAkACwANAA8AEwAVABdAKAECQAADAMFmAURAKQECQAADAMFnAURAKgECgQBLAwBLhQCa3KsBAkAAAwDBaAFEQCwBAkAAAwDBaQFEQC0BAoEASwMAS4UAmtyuAQJAAAMAwWoBREAvAQJAAAMAwWsBREAwAQKBAEsDAEuFAJrcsQECQAADAMFsAURAMgECQAADAMFtAURAMwECgQBLAwBLhQCa3LQBAkAAAwDBbgFEQDUBAkAAAwDBbwFEQDYBAoEASwMAS4UAmty3AQJAAAMAwXABREA4AQJAAAMAwXEBREA5AQKBAEsDAEuFAJrcugECQAADAMFyAURAOwECQAADAMFzAURAPAECgQBLAwBLhQCa3L0BAkAAAwDBdAFEQD4BAkAAAwDBdQFEQD8BAoEASwMAS4UAmtygAUJAAAMAwXYBREAhAUJAAAMAwXcBREAiAUKBAEsDAEuFAJrcowFCQAADAMF4AURAJAFCQAADAMF5AURAJQFCgQBLAwBLhQCa3KYBQYBAekFuwGcBQoBAvEFvQHpBbsBoAUGAQH5BbsBpAUKAQL9Bb0B+QW7AagFBgEBgQa7AawFCgEChQa9AYEGuwGwBQYBAYkGuwG0BQoBAo0GvQGJBrsBuAUGAQGRBrsBvAUKAQKVBr0BkQa7AcAFBgEBmQa7AcQFCgECnQa9AZkGuwHIBQYBAaEGuwHMBQoBAqUGvQGhBrsB0AUGAQGpBrsB1AUKAQKtBr0BqQa7AdgFBgEBsQa7AdwFCgECtQa9AbEGuwHgBQYBAbkGuwHkBQoBAr0GvQG5BrsB7gVAQWx0dWEuRGF0YS5OdW1iZXJGb3JtYXR0aW5nLk51bWJlckZvcm1hdFZhbHVlU2VnbWVudCwgQWx0dWEuRGF0YekFuwEFBAMFwAb2BT9BbHR1YS5EYXRhLk51bWJlckZvcm1hdHRpbmcuTnVtYmVyRm9ybWF0VGV4dFNlZ21lbnQsIEFsdHVhLkRhdGHxBb0BBQQBLQkB+QW7AQUEAwXEBv0FvQEFBAEtCQGBBrsBBQQDBcgGhQa9AQUEAS0JAYkGuwEFBAMFzAaNBr0BBQQBLQkBkQa7AQUEAwXQBpUGvQEFBAEtCQGZBrsBBQQDBdQGnQa9AQUEAS0JAaEGuwEFBAMF2AalBr0BBQQBLQkBqQa7AQUEAwXcBq0GvQEFBAEtCQGxBrsBBQQDBeAGtQa9AQUEAS0JAbkGuwEFBAMF5Aa9Br0BBQQBLQkBwAYGAQHpBtsBxAYGAQHxBtsByAYGAQHpBtsBzAYGAQHpBtsB0AYGAQHpBtsB1AYGAQHpBtsB2AYGAQHxBtsB3AYGAQHxBtsB4AYGAQHxBtsB5AYGAQHxBtsB7gY5QWx0dWEuRGF0YS5OdW1iZXJGb3JtYXR0aW5nLk51bWJlclBsYWNlaG9sZGVyLCBBbHR1YS5EYXRh6QbbAQUCMAAAAPEG2wEFAjAAAAA="/>
  <p:tag name="GRUNT-RENDERHASH" val="84ec877096e17d81ac6e7e557cd2aca7-svg"/>
  <p:tag name="GRUNT-X-SHAPEBOUNDS" val="ASIBBAAAAKDcUndAAAAAgMkAbUAAAAAANMVxQAAAAEDnsWVAAA=="/>
  <p:tag name="GRUNT-X-PAGEOBJECT" val="AQUC7S0KOEFsdHVhLk9hay5Db3JlLkRvY3VtZW50TW9kZWwuQ2hhcnRPYmplY3QsIEFsdHVhLk9hay5Db3JlBQI1BBIEED3avbUvKW5JhElYklersxsMEgQQ+KILMURTKEiwjkzuWplIERUNBCUUNRg9HFUgZSQSUEFsdHVhLk9hay5Db3JlLkRvY3VtZW50TW9kZWwuVGVtcGxhdGluZy5DdXN0b21Qb3NpdGlvbkRlZmluaXRpb24sIEFsdHVhLk9hay5Db3JlDQQkBCIBBI8ImZzcVndAgEfcDWOabkBHP8/4M71xQNI9JXYa5WBAFBMVKB0sNTA4AEU1DlU8XUBkAgVEGAQEAgVIHAIFTCALBVAMBW5iLU5PFVQkEAEBCQERARkBIQEpATEBOQAoFgQSBBAAAAAAAAAAAAAAAAAAAAAACAEsFgQSBBAAAAAAAAAAAAAAAAAAAAAACAEwADpHQWx0dWEuT2FrLkNvcmUuQ2hhcnQuQ2x1c3RlcmVkQmFyV2l0aExpbmVQbG90RGVmaW5pdGlvbiwgQWx0dWEuT2FrLkNvcmU1DjUEEgQQV9fCjjmTk0KzEusV297nbh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DH6zrGWorGQZK1nT2U9vkyFYQCHBIEEBF5bi6YHOlPpT4SGa3b+1UkAC2IAjWNAkSMAUgEEgQQOa6hS2PnK1Gv94eZJj3pqAwSBBDH6zrGWorGQZK1nT2U9vkyFZQCHBIEEOjcGhWyCfxHkHpCy/xxYFskAC2YAjWNAkSQAUIBABgDJZwCKQAxAEAASAJVoAJdpAJkEgQQx+s6xlqKxkGStZ09lPb5Mm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JBcUFsgENzQVj/AMKBdEFsgEN1QWpAY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SToMk1s1R0iQbJjb2gjD+M0FY/+hL//RBbIBFAQSBBA5rqFLY+crUa/3h5kmPemo1QWpAQQABQgA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9751dfb0bc914a50938667d86f976b0b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lhoKN0FsdHVhLkRhdGEuRGF0YVNlcnZpY2VzLkVtYmVkZGVkRGF0YVNlcnZpY2UsIEFsdHVhLkRhdGEFAhkEEgQQXgni5wIcpk6jHY+nR20jqg0MJREFDAYFGAgUEAoWQUFsdHVhLkRhdGEuRGF0YVNlcnZpY2VzLkVtYmVkZGVkRGF0YVNlcnZpY2VFZGl0b3JEYXRhLCBBbHR1YS5EYXRhEQUEBRwNIBgGBSQNKBUsHFodBBIEENNz8cQb9wFOoDLwDWItJDkLAAAAAAAAHEAdBBIEEB/rjDimIctLiTIXQgTfWDQLAAAAAAAgYkAdBBIEEOJnguqdwBVPt55grnTxaoYLAAAAAACAREAgeB0EEgQQBbe507cO9EmRZBhNRm5FrAsAAAAAAAAyQB0EEgQQhB+R4huFNUGwuFZrPUlJDwsAAAAAAAAyQB0EEgQQ+SxZ/v3fb0W5/mfTI9KrIwsAAAAAAAAyQB0EEgQQpMGu42cTaEKoGY8xflruyQsAAAAAAAAyQCQEMDQ4PCgDQERILJwELAQoBBIEENqNKxB7T5pMmUYr804v+BwMEgQQX5eQl8Rau0KbEDAGcU7FWQ1MLAQoBBIEEHWemJFcQytHgI2gyx3vlOMMEgQQX5eQl8Rau0KbEDAGcU7FWQ1QLAQoBBIEEB/rjDimIctLiTIXQgTfWDQMEgQQEXluLpgc6U+lPhIZrdv7VQ1ULAQoBBIEEB/rjDimIctLiTIXQgTfWDQMEgQQ6NwaFbIJ/EeQekLL/HFgWw1YLAQoBBIEEB/rjDimIctLiTIXQgTfWDQMEgQQX5eQl8Rau0KbEDAGcU7FWQ1cLAQoBBIEEPcNbqcYN7JIm877E5VeB3UMEgQQX5eQl8Rau0KbEDAGcU7FWQ1gLAQoBBIEEHWemJFcQytHgI2gyx3vlOMMEgQQEXluLpgc6U+lPhIZrdv7VQ1kLAQoBBIEEPcNbqcYN7JIm877E5VeB3UMEgQQEXluLpgc6U+lPhIZrdv7VQ1oLAQoBBIEENqNKxB7T5pMmUYr804v+BwMEgQQEXluLpgc6U+lPhIZrdv7VQ1sLAQoBBIEEPcNbqcYN7JIm877E5VeB3UMEgQQ6NwaFbIJ/EeQekLL/HFgWw1wLAQoBBIEENqNKxB7T5pMmUYr804v+BwMEgQQ6NwaFbIJ/EeQekLL/HFgWw10LAQoBBIEEHWemJFcQytHgI2gyx3vlOMMEgQQ6NwaFbIJ/EeQekLL/HFgWw14MBoEEgQQ2o0rEHtPmkyZRivzTi/4HAwCQzEZATQaBBIEEB/rjDimIctLiTIXQgTfWDQMAkMyGQE4GgQSBBB1npiRXEMrR4CNoMsd75TjDAJDMxkBPBsEEgQQ9w1upxg3skibzvsTlV4HdQwDQzE4GQFAGgQSBBBfl5CXxFq7QpsQMAZxTsVZDAJSMRkBRBoEEgQQ6NwaFbIJ/EeQekLL/HFgWwwCUjIZAUgaBBIEEBF5bi6YHOlPpT4SGa3b+1UMAlI3GQFMBQ18FYABUAUNfBWEAVQGDYgBFYwBWAUNfBWQAVwFDXwVlAFgBg2IARWYAWQGDYgBFZwBaAYNiAEVoAFsBg2IARWkAXAGDYgBFagBdAUNfBWsAXgFDXwVsAF8AgQAgAEFBAMFtAGEAQUEAwW4AYgBAgQAjAEFBAMFvAGQAQUEAwXAAZQBBQQDBcQBmAEFBAMFyAGcAQUEAwXMAaABBQQDBdABpAEFBAMF1AGoAQUEAwXYAawBBQQDBdwBsAEFBAMF4AG0AQIBALgBBQEB5QE6vAEFAQHtATrAAQUBAfEBOsQBBQEB9QE6yAEFAQH5ATrMAQUBAf0BOtABBQEBgQI61AEFAQGFAjrYAQUBAYkCOtwBBQEBjQI64AEFAQGRAjrqAS9BbHR1YS5EYXRhLkluZnJhc3RydWN0dXJlLlBhcmFncmFwaCwgQWx0dWEuRGF0YeUBOgUMAwWUAu0BOgUMAwWYAvEBOgUMAwWcAvUBOgUMAwWgAvkBOgUMAwWkAv0BOgUMAwWoAoECOgUMAwWsAoUCOgUMAwWwAokCOgUMAwW0Ao0COgUMAwW4ApECOgUMAwW8ApQCBQEBwQJRmAIFAQHJAlOcAgUBAdECU6ACBQEB1QJRpAIFAQHZAlGoAgUBAd0CU6wCBQEB4QJTsAIFAQHlAlO0AgUBAekCU7gCBQEB7QJTvAIFAQHxAlPGAi1BbHR1YS5EYXRhLkluZnJhc3RydWN0dXJlLlRleHRSdW4sIEFsdHVhLkRhdGHBAlESBA01LjAwMOKAkzkuOTk5DfQCzgIvQWx0dWEuRGF0YS5JbmZyYXN0cnVjdHVyZS5OdW1iZXJSdW4sIEFsdHVhLkRhdGHJAlMSBA0DAAAAAAAAOkAd+QJfDYAD0QJTEgQNAwAAAAAAACxAHYUDXw2IA9UCURAEC1VuZGVyIDUuMDAwDYwD2QJRFwQSMTAuMDAwIGVsbGVyIGZsZXJlDZAD3QJTEgQNAwAAAAAAADVAHZUDXw2YA+ECUxIEDQMAAAAAAIBHQB2dA18NoAPlAlMSBA0DAAAAAACcn0AdpQNfDagD6QJTEgQNAwAAAAAAgEdAHa0DXw2wA+0CUxIEDQMAAAAAAKCfQB21A18NuAPxAlMSBA0DAAAAAAAASUAdvQNfDcAD9AISBAAcACQALAA0ADwATABUAF0A/gI9QWx0dWEuRGF0YS5OdW1iZXJGb3JtYXR0aW5nLkNvbXBvc2l0ZU51bWJlckZvcm1hdCwgQWx0dWEuRGF0YfkCXwsdxAMlyAM1zAM9AIADEgQAHAAkACwANAA8AEwAVABdAIUDXwsd0AMl1AM12AM9AIgDEgQAHAAkACwANAA8AEwAVABdAIwDEgQAHAAkACwANAA8AEwAVABdAJADEgQAHAAkACwANAA8AEwAVABdAJUDXwsd3AMl4AM15AM9AJgDEgQAHAAkACwANAA8AEwAVABdAJ0DXwsd6AMl7AM18AM9AKADEgQAHAAkACwANAA8AEwAVABdAKUDXwsd9AMl+AM1/AM9AKgDEgQAHAAkACwANAA8AEwAVABdAK0DXwsdgAQlhAQ1iAQ9ALADEgQAHAAkACwANAA8AEwAVABdALUDXwsdjAQlkAQ1lAQ9ALgDEgQAHAAkACwANAA8AEwAVABdAL0DXwsdmAQlnAQ1oAQ9AMADEgQAHAAkACwANAA8AEwAVABdAMQDCQAADAMFpAQRAMgDCQAADAMFqAQRAMwDCgQBLAwBLhQCa3LQAwkAAAwDBawEEQDUAwkAAAwDBbAEEQDYAwoEASwMAS4UAmty3AMJAAAMAwW0BBEA4AMJAAAMAwW4BBEA5AMKBAEsDAEuFAJrcugDCQAADAMFvAQRAOwDCQAADAMFwAQRAPADCgQBLAwBLhQCa3L0AwkAAAwDBcQEEQD4AwkAAAwDBcgEEQD8AwoEASwMAS4UAmtygAQJAAAMAwXMBBEAhAQJAAAMAwXQBBEAiAQKBAEsDAEuFAJrcowECQAADAMF1AQRAJAECQAADAMF2AQRAJQECgQBLAwBLhQCa3KYBAkAAAwDBdwEEQCcBAkAAAwDBeAEEQCgBAoEASwMAS4UAmtypAQGAQHlBJoBqAQKAQLtBJwB5QSaAawEBgEB9QSaAbAECgEC+QScAfUEmgG0BAYBAf0EmgG4BAoBAoEFnAH9BJoBvAQGAQGFBZoBwAQKAQKJBZwBhQWaAcQEBgEBjQWaAcgECgECkQWcAY0FmgHMBAYBAZUFmgHQBAoBApkFnAGVBZoB1AQGAQGdBZoB2AQKAQKhBZwBnQWaAdwEBgEBpQWaAeAECgECqQWcAaUFmgHqBEBBbHR1YS5EYXRhLk51bWJlckZvcm1hdHRpbmcuTnVtYmVyRm9ybWF0VmFsdWVTZWdtZW50LCBBbHR1YS5EYXRh5QSaAQUEAwWsBfIEP0FsdHVhLkRhdGEuTnVtYmVyRm9ybWF0dGluZy5OdW1iZXJGb3JtYXRUZXh0U2VnbWVudCwgQWx0dWEuRGF0Ye0EnAEFBAEtCQH1BJoBBQQDBbAF+QScAQUEAS0JAf0EmgEFBAMFtAWBBZwBBQQBLQkBhQWaAQUEAwW4BYkFnAEFBAEtCQGNBZoBBQQDBbwFkQWcAQUEAS0JAZUFmgEFBAMFwAWZBZwBBQQBLQkBnQWaAQUEAwXEBaEFnAEFBAEtCQGlBZoBBQQDBcgFqQWcAQUEAS0JAawFBgEBzQW0AbAFBgEBzQW0AbQFBgEBzQW0AbgFBgEBzQW0AbwFBgEB1QW0AcAFBgEBzQW0AcQFBgEB2QW0AcgFBgEBzQW0AdIFOUFsdHVhLkRhdGEuTnVtYmVyRm9ybWF0dGluZy5OdW1iZXJQbGFjZWhvbGRlciwgQWx0dWEuRGF0Yc0FtAEFAjAAAADVBbQBBQIwAAAA2QW0AQUCMAAAAA=="/>
  <p:tag name="GRUNT-RENDERHASH" val="d3916aa6d2c8d0af9cf762d3f9fc7e47-svg"/>
  <p:tag name="GRUNT-X-SHAPEBOUNDS" val="ASIBBAAAAADqRoZAAAAAYGyMakAAAAAAAFBqQAAAAGBEJmhAAA=="/>
  <p:tag name="GRUNT-X-PAGEOBJECT" val="AQUCyC8KOEFsdHVhLk9hay5Db3JlLkRvY3VtZW50TW9kZWwuQ2hhcnRPYmplY3QsIEFsdHVhLk9hay5Db3JlBQI1BBIEEKoyCC/Rf4tBq+5Zu0GJlo4MEgQQXgni5wIcpk6jHY+nR20jqhUNBCUUNRg9HFUgZSQSUEFsdHVhLk9hay5Db3JlLkRvY3VtZW50TW9kZWwuVGVtcGxhdGluZy5DdXN0b21Qb3NpdGlvbkRlZmluaXRpb24sIEFsdHVhLk9hay5Db3JlDQQkBCIBBG4dWwzqSIZA+r8b7gUmbEAAAAAAAEBqQFjF5ZV3WWNAFBMVKB0sNTA4AEU1DlU8XUBkAgVEGAQEAgVIHAIFTCALBVAMBW5iLU5PFVQkEAEBCQERARkBIQEpATEBOQAoFgQSBBAAAAAAAAAAAAAAAAAAAAAACAEsFgQSBBAAAAAAAAAAAAAAAAAAAAAACAEwADpHQWx0dWEuT2FrLkNvcmUuQ2hhcnQuQ2x1c3RlcmVkQmFyV2l0aExpbmVQbG90RGVmaW5pdGlvbiwgQWx0dWEuT2FrLkNvcmU1DjUEEgQQSugJXamvTUySOixC0HD0EB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A/glfNApJCTZlGsQwt5x3xFYQCHBIEEBF5bi6YHOlPpT4SGa3b+1UkAC2IAjWNAkSMAUgEEgQQOa6hS2PnK1Gv94eZJj3pqAwSBBA/glfNApJCTZlGsQwt5x3xFZQCHBIEEOjcGhWyCfxHkHpCy/xxYFskAC2YAjWNAkSQAUIBABgDJZwCKQAxAEAASAJVoAJdpAJkEgQQP4JXzQKSQk2ZRrEMLecd8W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QBCeQD6APsA/AD9AP4A/wDgASEBNwCAgEA4AIOAQaIBIwEkASUBJgEnATkAhABB6AEpASoBKwEsAS0BLgE6AICAQDsAgQBAbwE8AIKAQTABMQEyATMBPQCAgEA+AICAQD8AgIBAIADAgEAhAMCAQCOAzNBbHR1YS5PYWsuQ29yZS5UaGVtaW5nLkNvbG9yUG9pbnRlciwgQWx0dWEuT2FrLkNvcmWJA2NQUFD/kQNjUFBQ/5QDBQQDBdAEmAMFBAMF1AScAwcEAwQBAAgEoAMFBAEuCASkAwQAAQgEqAMEAAAIBKwDBAQACASwAwQEAAgEtAMEAAAIBLgDBQQDBdgEvQNjPj7l/8EDY1BQUP/EAwIBAMgDDgXdBJgBCwAAAAAAAAAAzAMOBeUEmgELAAAAAAAAAADQAw4F7QScAQsAAAAAAADgP9QDDgX1BJ4BCwAAAAAAAOA/2AMOBf0EoAELAAAAAAAA4D/cAw4FhQWiAQsAAAAAAAD4P+ADCAWNBaABDZAF5AMKBZUFpgENnQWoAegDCgWlBZgBDakFqwHsAwoFsQWcAQ21BasB8AMKBbkFngENvQWrAfQDCQXBBbEBDckFY/gDCgXNBbQBDdUFqwH8AwoF2QW0AQ3dBasBgAQJBeEFuQEN6QVjhAQKBe0FuQEN8QWrAYgEBwX1Bb4BCQGMBAcF/QXAAQkAkAQHBYUGvgEJAZQEBwWJBsMBCQGYBAcFkQbFAQkBnAQHBZkGxwEJAaAECgWhBskBDakGywGkBAoFsQbNAQ25Bs8BqAQKBcEG0QENyQbTAawECgXRBtEBDckG0wGwBAoF1QbAAQ3ZBtcBtAQKBeEGxQEN2QbXAbgECgXlBscBDekG2wG8BAoF8QbdAQ35Bt8BwAQKBYEHwAENhQfiAcQECgWNB80BDZEH4gHIBAoFlQfFAQ2ZB+IBzAQKBZ0HyQENoQfiAdAEBgEBpQfqAdQEBgEBrQfqAdgEBAECAQTiBFNBbHR1YS5PYWsuQ29yZS5Nb2RpZmljYXRpb24uU3R5bGluZy5BbGxWYWx1ZUF4aXNDdXN0b21pemF0aW9uVGFyZ2V0LCBBbHR1YS5PYWsuQ29yZd0EmAEA6gRZQWx0dWEuT2FrLkNvcmUuTW9kaWZpY2F0aW9uLlN0eWxpbmcuVmFsdWVBeGlzR3JpZGxpbmVzQ3VzdG9taXphdGlvblRhcmdldCwgQWx0dWEuT2FrLkNvcmXlBJoBAPIEU0FsdHVhLk9hay5Db3JlLk1vZGlmaWNhdGlvbi5TdHlsaW5nLkNhdGVnb3J5QXhpc0N1c3RvbWl6YXRpb25UYXJnZXQsIEFsdHVhLk9hay5Db3Jl7QScAQD6BFBBbHR1YS5PYWsuQ29yZS5Nb2RpZmljYXRpb24uU3R5bGluZy5Pcmlnb0xpbmVDdXN0b21pemF0aW9uVGFyZ2V0LCBBbHR1YS5PYWsuQ29yZfUEngEAggVdQWx0dWEuT2FrLkNvcmUuTW9kaWZpY2F0aW9uLlN0eWxpbmcuQWxsQ29ubmVjdG9yc0F1eGlsaWFyeUN1c3RvbWl6YXRpb25UYXJnZXQsIEFsdHVhLk9hay5Db3Jl/QSgAQCKBVlBbHR1YS5PYWsuQ29yZS5Nb2RpZmljYXRpb24uU3R5bGluZy5TZXJpZXNXaXRoUGxvdEtpbmRDdXN0b21pemF0aW9uVGFyZ2V0LCBBbHR1YS5PYWsuQ29yZYUFogEDBbAHjQWgAQCQBQUMAwW0B5oFVkFsdHVhLk9hay5Db3JlLk1vZGlmaWNhdGlvbi5TdHlsaW5nLkFsbFNlcmllc01hcmtlckN1c3RvbWl6YXRpb25UYXJnZXQsIEFsdHVhLk9hay5Db3JllQWmAQCiBTpBbHR1YS5PYWsuQ29yZS5UaGVtaW5nLkJpbmRpbmdDb2xvclBvaW50ZXIsIEFsdHVhLk9hay5Db3JlnQWoAQUFuQfvAaUFmAEArgU3QWx0dWEuT2FrLkNvcmUuVGhlbWluZy5QYWdlQ29sb3JQb2ludGVyLCBBbHR1YS5PYWsuQ29yZakFqwEEAAAIALEFnAEAtQWrAQQAAAgAuQWeAQC9BasBBAAACADGBVNBbHR1YS5PYWsuQ29yZS5Nb2RpZmljYXRpb24uU3R5bGluZy5BbGxHcmlkbGluZXNDdXN0b21pemF0aW9uVGFyZ2V0LCBBbHR1YS5PYWsuQ29yZcEFsQEAyQVjgICA/9IFTUFsdHVhLk9hay5Db3JlLk1vZGlmaWNhdGlvbi5TdHlsaW5nLlNlcmllc0N1c3RvbWl6YXRpb25UYXJnZXQsIEFsdHVhLk9hay5Db3JlzQW0ARQEEgQQOa6hS2PnK1Gv94eZJj3pqNUFqwEEAAQIANkFtAEUBBIEEEk6DJNbNUdIkGyY29oIw/jdBasBBAAFCADmBVBBbHR1YS5PYWsuQ29yZS5Nb2RpZmljYXRpb24uU3R5bGluZy5Db21wb3NpdGVDdXN0b21pemF0aW9uVGFyZ2V0LCBBbHR1YS5PYWsuQ29yZeEFuQEFBAMFwAfpBWP/oS//7QW5AQUEAwXEB/EFqwEEAAUIAPoFWEFsdHVhLk9hay5Db3JlLk1vZGlmaWNhdGlvbi5TdHlsaW5nLlNlcmllc0xhYmVsT2ZUeXBlQ3VzdG9taXphdGlvblRhcmdldCwgQWx0dWEuT2FrLkNvcmX1Bb4BAgACggZYQWx0dWEuT2FrLkNvcmUuTW9kaWZpY2F0aW9uLlN0eWxpbmcuQWxsVmFsdWVBeGlzTGFiZWxDdXN0b21pemF0aW9uVGFyZ2V0LCBBbHR1YS5PYWsuQ29yZf0FwAEAhQa+AQIAAI4GVUFsdHVhLk9hay5Db3JlLk1vZGlmaWNhdGlvbi5TdHlsaW5nLkFsbFRvdGFsTGFiZWxzQ3VzdG9taXphdGlvblRhcmdldCwgQWx0dWEuT2FrLkNvcmWJBsMBAJYGV0FsdHVhLk9hay5Db3JlLk1vZGlmaWNhdGlvbi5TdHlsaW5nLkFsbENhdGVnb3J5TGFiZWxDdXN0b21pemF0aW9uVGFyZ2V0LCBBbHR1YS5PYWsuQ29yZZEGxQEAngZYQWx0dWEuT2FrLkNvcmUuTW9kaWZpY2F0aW9uLlN0eWxpbmcuQWxsQXV4aWxpYXJ5TGFiZWxDdXN0b21pemF0aW9uVGFyZ2V0LCBBbHR1YS5PYWsuQ29yZZkGxwEApgZYQWx0dWEuT2FrLkNvcmUuTW9kaWZpY2F0aW9uLlN0eWxpbmcuQ2F0ZWdvcnlBeGlzVGl0bGVDdXN0b21pemF0aW9uVGFyZ2V0LCBBbHR1YS5PYWsuQ29yZaEGyQEArgZGQWx0dWEuT2FrLkNvcmUuUGxvdHRpbmcuQXhpc1RpdGxlTGFiZWxQbGFjZW1lbnRPdXRzaWRlLCBBbHR1YS5PYWsuQ29yZakGywECAAG2Bl1BbHR1YS5PYWsuQ29yZS5Nb2RpZmljYXRpb24uU3R5bGluZy5BbGxWYWx1ZUF4aXNUaXRsZUxhYmVsQ3VzdG9taXphdGlvblRhcmdldCwgQWx0dWEuT2FrLkNvcmWxBs0BAL4GQkFsdHVhLk9hay5Db3JlLlBsb3R0aW5nLkF4aXNUaXRsZUxhYmVsUGxhY2VtZW50RmFyLCBBbHR1YS5PYWsuQ29yZbkGzwECAADGBl9BbHR1YS5PYWsuQ29yZS5Nb2RpZmljYXRpb24uU3R5bGluZy5TZXJpZXNMYWJlbHNXaXRoUGxvdEtpbmRDdXN0b21pemF0aW9uVGFyZ2V0LCBBbHR1YS5PYWsuQ29yZcEG0QEFBcgHCADOBj1BbHR1YS5PYWsuQ29yZS5QbG90dGluZy5MYWJlbFBsYWNlbWVudE91dHNpZGUsIEFsdHVhLk9hay5Db3JlyQbTAQDRBtEBBQXMBwgA1QbAAQDeBkFBbHR1YS5PYWsuQ29yZS5QbG90dGluZy5BeGlzTGFiZWxQbGFjZW1lbnRPdXRzaWRlLCBBbHR1YS5PYWsuQ29yZdkG1wECAQDhBsUBAOUGxwEA7gZGQWx0dWEuT2FrLkNvcmUuUGxvdHRpbmcuQXV4aWxpYXJ5TGFiZWxQbGFjZW1lbnREZWZhdWx0LCBBbHR1YS5PYWsuQ29yZekG2wEA9gZQQWx0dWEuT2FrLkNvcmUuTW9kaWZpY2F0aW9uLlN0eWxpbmcuQWxsTGFiZWxzQ3VzdG9taXphdGlvblRhcmdldCwgQWx0dWEuT2FrLkNvcmXxBt0BAP4GQkFsdHVhLk9hay5Db3JlLlN5bnRheFN0cnVjdHVyZS5BY3R1YWxGb250U2l6ZVZhbHVlLCBBbHR1YS5PYWsuQ29yZfkG3wEJAwAAAAAAACJAgQfAAQCKB0NBbHR1YS5PYWsuQ29yZS5TeW50YXhTdHJ1Y3R1cmUuQWN0dWFsRm9udENvbG9yVmFsdWUsIEFsdHVhLk9hay5Db3JlhQfiAQUF0QerAY0HzQEAkQfiAQUF1QerAZUHxQEAmQfiAQUF2QerAZ0HyQEAoQfiAQUF3QerAaoHL0FsdHVhLkRhdGEuSW5mcmFzdHJ1Y3R1cmUuUGFyYWdyYXBoLCBBbHR1YS5EYXRhpQfqAQUMAwXgB60H6gEFDAMF5AewBwEFtAcKAQIAAIBAAABAQL4HSEFsdHVhLk9hay5Db3JlLlN5bnRheFN0cnVjdHVyZS5QbG90U2VyaWVzQmluZGluZ1N0cmF0ZWd5LCBBbHR1YS5PYWsuQ29yZbkH7wEAwAcGAQHpB7QBxAcGAQHtB7QByAcCCQrMBwEF0QerAQQAAAgA1QerAQQAAAgA2QerAQQAAAgA3QerAQQAAAgA4AcGAQHxB/0B5AcGAQH5B/0B6Qe0ARQEEgQQSToMk1s1R0iQbJjb2gjD+O0HtAEUBBIEEDmuoUtj5ytRr/eHmSY96aj2By9BbHR1YS5EYXRhLkluZnJhc3RydWN0dXJlLk51bWJlclJ1biwgQWx0dWEuRGF0YfEH/QETBA4DAAAAAACcn0Ad/QeAAg2ECPkH/QETBA4DAAAAAACgn0AdiQiAAg2MCIIIPUFsdHVhLkRhdGEuTnVtYmVyRm9ybWF0dGluZy5Db21wb3NpdGVOdW1iZXJGb3JtYXQsIEFsdHVhLkRhdGH9B4ACCx2QCCWUCDWYCD0AhAgSBAAcACQALAA0ADwATABUAF0AiQiAAgsdnAgloAg1pAg9AIwIEgQAHAAkACwANAA8AEwAVABdAJAICQAADAMFqAgRAJQICQAADAMFrAgRAJgICgQBLAwBLhQCa3KcCAkAAAwDBbAIEQCgCAkAAAwDBbQIEQCkCAoEASwMAS4UAmtyqAgGAQG5CI8CrAgKAQLBCJECuQiPArAIBgEByQiPArQICgECzQiRAskIjwK+CEBBbHR1YS5EYXRhLk51bWJlckZvcm1hdHRpbmcuTnVtYmVyRm9ybWF0VmFsdWVTZWdtZW50LCBBbHR1YS5EYXRhuQiPAgUEAwXQCMYIP0FsdHVhLkRhdGEuTnVtYmVyRm9ybWF0dGluZy5OdW1iZXJGb3JtYXRUZXh0U2VnbWVudCwgQWx0dWEuRGF0YcEIkQIFBAEtCQHJCI8CBQQDBdQIzQiRAgUEAS0JAdAIBgEB2QiXAtQIBgEB4QiXAt4IOUFsdHVhLkRhdGEuTnVtYmVyRm9ybWF0dGluZy5OdW1iZXJQbGFjZWhvbGRlciwgQWx0dWEuRGF0YdkIlwIFAjAAAADhCJcCBQIwAAAA"/>
  <p:tag name="GRUNT-SYNC" val="e43afff6ea544e5eb9d10846033fc60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222a1f75-4033-439d-ba0c-1c4ac32eb10b"/>
  <p:tag name="GRUNT-X-RESOURCES" val="AQIFBAQEAgEA"/>
  <p:tag name="GRUNT-VERSION" val="20.24.1.0"/>
  <p:tag name="GRUNT-VERSION-2" val="2024.1-r2-4069"/>
  <p:tag name="GRUNT-RENDERHASH" val="310540c05bba2bdf8d18f914a90e52a1-svg"/>
  <p:tag name="GRUNT-X-SHAPEBOUNDS" val="ASIBBAAAAKDcVndAAAAAIP2He0AAAACAte9eQAAAAKD06zRAAA=="/>
  <p:tag name="GRUNT-X-PAGEOBJECT" val="AQUCswIKPkFsdHVhLk9hay5Db3JlLkRvY3VtZW50TW9kZWwuQ2hhcnRMZWdlbmRPYmplY3QsIEFsdHVhLk9hay5Db3JlBQI5BBIEEHUfKiIzQJ1DugwcSsMusQsUEgQQV9fCjjmTk0KzEusV297nbi0MNRBEAgUUSABVGQdlIG0kDAQEAgUoEAIFLBQCAQAeUEFsdHVhLk9hay5Db3JlLkRvY3VtZW50TW9kZWwuVGVtcGxhdGluZy5DdXN0b21Qb3NpdGlvbkRlZmluaXRpb24sIEFsdHVhLk9hay5Db3JlGQckBCIBBI8ImZzcVndAAAAAIv2He0A4Kqt3te9eQIBrAaD06zRAIAsFMAwFbmItTk8VNCQEAQEJASgCAQAsADAKBAEsDAEgFAJrcjQJBAVuYi1OTwgB"/>
  <p:tag name="GRUNT-SYNC" val="a9648006cffe461399e4bc0695107d9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b04bc17b-8c90-4259-b22a-71e1ff01a26b"/>
  <p:tag name="GRUNT-X-SHAPEBOUNDS" val="ASIBBAAAAEA08XNAAAAAQGcgakAAAAAAAABZQAAAAAAAAGlAAA=="/>
  <p:tag name="GRUNT-X-RESOURCES" val="AQIFBAQEAgEA"/>
  <p:tag name="GRUNT-VERSION" val="20.24.1.0"/>
  <p:tag name="GRUNT-VERSION-2" val="2024.1-r2-4069"/>
  <p:tag name="GRUNT-RENDERHASH" val="00000000000000000000000000000000-svg"/>
  <p:tag name="GRUNT-X-PAGEOBJECT" val="AQUCxgIKPkFsdHVhLk9hay5Db3JlLkRvY3VtZW50TW9kZWwuQ2hhcnRMZWdlbmRPYmplY3QsIEFsdHVhLk9hay5Db3JlBQI5BBIEEHvBS7CQjFlCsipx4f8BomsUEgQQV585QpCzyE6E1ApHACu/Pi0MNRBEAgUUSABVGQdlIG0kDAQEAgUoEAIFLBQVAQESBBA5rqFLY+crUa/3h5kmPemoHlBBbHR1YS5PYWsuQ29yZS5Eb2N1bWVudE1vZGVsLlRlbXBsYXRpbmcuQ3VzdG9tUG9zaXRpb25EZWZpbml0aW9uLCBBbHR1YS5PYWsuQ29yZRkHJAQiAQRHP89MNPFzQPCo0UBnIGlAAAAAAAAAWUAAAAAAAABpQCALBTAMBW5iLU5PFTQkBAEBCQEoAgEALAAwCgQBLAwBIBQCa3I0CQQFbmItTk8IAQ=="/>
  <p:tag name="GRUNT-SYNC" val="e5ceedc2ae074011813f13596bef463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222a1f75-4033-439d-ba0c-1c4ac32eb10b"/>
  <p:tag name="GRUNT-X-RESOURCES" val="AQIFBAQEAgEA"/>
  <p:tag name="GRUNT-VERSION" val="20.24.1.0"/>
  <p:tag name="GRUNT-VERSION-2" val="2024.1-r2-4069"/>
  <p:tag name="GRUNT-RENDERHASH" val="e350945e65e12f81ed103085db248ccf-svg"/>
  <p:tag name="GRUNT-X-SHAPEBOUNDS" val="ASIBBAAAAADqSIZAAAAAIP2He0AAAACAbvNmQAAAAAD/q0dAAA=="/>
  <p:tag name="GRUNT-X-PAGEOBJECT" val="AQUCswIKPkFsdHVhLk9hay5Db3JlLkRvY3VtZW50TW9kZWwuQ2hhcnRMZWdlbmRPYmplY3QsIEFsdHVhLk9hay5Db3JlBQI5BBIEEN0QyfLaWFJPtuVuXQsjZCIUEgQQV9fCjjmTk0KzEusV297nbi0MNRBEAgUUSABVGQdlIG0kDAQEAgUoEAIFLBQCAQAeUEFsdHVhLk9hay5Db3JlLkRvY3VtZW50TW9kZWwuVGVtcGxhdGluZy5DdXN0b21Qb3NpdGlvbkRlZmluaXRpb24sIEFsdHVhLk9hay5Db3JlGQckBCIBBG4dWwzqSIZAAAAAIv2He0Ag8inQW5lYQIBrAaD06zRAIAsFMAwFbmItTk8VNCQEAQEJASgCAQAsADAKBAEsDAEgFAJrcjQJBAVuYi1OTwgB"/>
  <p:tag name="GRUNT-SYNC" val="0becaae91d2848cd924814925ca18e4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222a1f75-4033-439d-ba0c-1c4ac32eb10b"/>
  <p:tag name="GRUNT-X-RESOURCES" val="AQIFBAQEAgEA"/>
  <p:tag name="GRUNT-VERSION" val="20.24.1.0"/>
  <p:tag name="GRUNT-VERSION-2" val="2024.1-r2-4069"/>
  <p:tag name="GRUNT-RENDERHASH" val="d0c2f41eeda6077a9919bbb44471dcce-svg"/>
  <p:tag name="GRUNT-X-SHAPEBOUNDS" val="ASIBBAAAAKACoEFAAAAAIP2He0AAAABgZ6RbQAAAAKD06zRAAA=="/>
  <p:tag name="GRUNT-X-PAGEOBJECT" val="AQUCswIKPkFsdHVhLk9hay5Db3JlLkRvY3VtZW50TW9kZWwuQ2hhcnRMZWdlbmRPYmplY3QsIEFsdHVhLk9hay5Db3JlBQI5BBIEEHivmh+4R2hOuDOj5nruV3sUEgQQV9fCjjmTk0KzEusV297nbi0MNRBEAgUUSABVGQdlIG0kDAQEAgUoEAIFLBQCAQAeUEFsdHVhLk9hay5Db3JlLkRvY3VtZW50TW9kZWwuVGVtcGxhdGluZy5DdXN0b21Qb3NpdGlvbkRlZmluaXRpb24sIEFsdHVhLk9hay5Db3JlGQckBCIBBAAAAKACoEFAAAAAIv2He0DYuPVUZ6RbQIBrAaD06zRAIAsFMAwFbmItTk8VNCQEAQEJASgCAQAsADAKBAEsDAEgFAJrcjQJBAVuYi1OTwgB"/>
  <p:tag name="GRUNT-SYNC" val="6a6ab33a98c2467d9cc6ff00b877fbc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b7d81e5b-4116-4b5b-8d39-6b498aa58cb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vQ4KN0FsdHVhLkRhdGEuRGF0YVNlcnZpY2VzLkVtYmVkZGVkRGF0YVNlcnZpY2UsIEFsdHVhLkRhdGEFAhkEEgQQA+rbv3IHVEOKur9BB/JsTg0MJREFDAYFGAgSEAcWQUFsdHVhLkRhdGEuRGF0YVNlcnZpY2VzLkVtYmVkZGVkRGF0YVNlcnZpY2VFZGl0b3JEYXRhLCBBbHR1YS5EYXRhEQUEBRwNIBgGBSQNKBUsHDwdBBIEENNz8cQb9wFOoDLwDWItJDkLAAAAAAAAHEAdBBIEEB/rjDimIctLiTIXQgTfWDQLAAAAAAAgYkAgWh0EEgQQBbe507cO9EmRZBhNRm5FrAsAAAAAAAAyQB0EEgQQhB+R4huFNUGwuFZrPUlJDwsAAAAAAAAyQB0EEgQQ+SxZ/v3fb0W5/mfTI9KrIwsAAAAAAAAyQCQDMDQ4KAI8QCyOAiwEKAQSBBDajSsQe0+aTJlGK/NOL/gcDBIEEF+XkJfEWrtCmxAwBnFOxVkNRCwEKAQSBBB1npiRXEMrR4CNoMsd75TjDBIEEF+XkJfEWrtCmxAwBnFOxVkNSCwEKAQSBBAf64w4piHLS4kyF0IE31g0DBIEEOjcGhWyCfxHkHpCy/xxYFsNTCwEKAQSBBAf64w4piHLS4kyF0IE31g0DBIEEF+XkJfEWrtCmxAwBnFOxVkNUCwEKAQSBBDajSsQe0+aTJlGK/NOL/gcDBIEEOjcGhWyCfxHkHpCy/xxYFsNVCwEKAQSBBB1npiRXEMrR4CNoMsd75TjDBIEEOjcGhWyCfxHkHpCy/xxYFsNWDAaBBIEENqNKxB7T5pMmUYr804v+BwMAkMxGQE0GgQSBBAf64w4piHLS4kyF0IE31g0DAJDMhkBOBoEEgQQdZ6YkVxDK0eAjaDLHe+U4wwCQzMZATwaBBIEEF+XkJfEWrtCmxAwBnFOxVkMAlIxGQFAGgQSBBDo3BoVsgn8R5B6Qsv8cWBbDAJSMhkBRAQNXBVgSAQNXBVkTAQNXBVoUAQNXBVsVAQNXBVwWAQNXBV0XAIEAGAEBAIFeGQEBAIFfGgFBAMFgAFsBQQDBYQBcAUEAwWIAXQFBAMFjAF4AgEAfAUBAZEBJYABBQEBmQElhAEFAQGdASWIAQIBAIwBBQEBoQEllgEvQWx0dWEuRGF0YS5JbmZyYXN0cnVjdHVyZS5QYXJhZ3JhcGgsIEFsdHVhLkRhdGGRASUFDAMFpAGZASUFDAMFqAGdASUFDAMFrAGhASUFDAMFsAGkAQUBAbUBLqgBBQEBvQEurAEFAQHBAS6wAQUBAcUBLroBL0FsdHVhLkRhdGEuSW5mcmFzdHJ1Y3R1cmUuTnVtYmVyUnVuLCBBbHR1YS5EYXRhtQEuEgQNAwAAAAAAoJ9AHckBMw3QAb0BLhIEDQMAAAAAAAAYQB3VATMN2AHBAS4SBA0DAAAAAACcn0Ad3QEzDeABxQEuEgQNAwAAAAAAAABAHeUBMw3YAc4BPUFsdHVhLkRhdGEuTnVtYmVyRm9ybWF0dGluZy5Db21wb3NpdGVOdW1iZXJGb3JtYXQsIEFsdHVhLkRhdGHJATMLHegBJewBNfABPQDQARIEABwAJAAsADQAPABMAFQAXQDVATMLHfQBJfgBNfwBPQDYARIEABwAJAAsADQAPABMAFQAXQDdATMLHYACJYQCNYgCPQDgARIEABwAJAAsADQAPABMAFQAXQDlATMLHYwCJZACNZQCPQDoAQkAAAwDBZgCEQDsAQkAAAwDBZwCEQDwAQoEASwMAS4UAmty9AEJAAAMAwWgAhEA+AEJAAAMAwWkAhEA/AEKBAEsDAEuFAJrcoACCQAADAMFqAIRAIQCCQAADAMFrAIRAIgCCgQBLAwBLhQCa3KMAgkAAAwDBbACEQCQAgkAAAwDBbQCEQCUAgoEASwMAS4UAmtymAIFAQG5Ak+cAggBAsECUbkCT6ACBQEByQJPpAIIAQLNAlHJAk+oAgUBAdECT6wCCAEC1QJR0QJPsAIFAQHZAk+0AggBAt0CUdkCT74CQEFsdHVhLkRhdGEuTnVtYmVyRm9ybWF0dGluZy5OdW1iZXJGb3JtYXRWYWx1ZVNlZ21lbnQsIEFsdHVhLkRhdGG5Ak8FBAMF4ALGAj9BbHR1YS5EYXRhLk51bWJlckZvcm1hdHRpbmcuTnVtYmVyRm9ybWF0VGV4dFNlZ21lbnQsIEFsdHVhLkRhdGHBAlEFBAEtCQHJAk8FBAMF5ALNAlEFBAEtCQHRAk8FBAMF6ALVAlEFBAEtCQHZAk8FBAMF7ALdAlEFBAEtCQHgAgUBAfECXeQCBQEB+QJd6AIFAQHxAl3sAgUBAfkCXfYCOUFsdHVhLkRhdGEuTnVtYmVyRm9ybWF0dGluZy5OdW1iZXJQbGFjZWhvbGRlciwgQWx0dWEuRGF0YfECXQUCMAAAAPkCXQUCMAAAAA=="/>
  <p:tag name="GRUNT-RENDERHASH" val="307ef7713e0710ef60fed958f8dee118-svg"/>
  <p:tag name="GRUNT-X-SHAPEBOUNDS" val="ASIBBAAAAIBIF0FAAAAAYNyVdkAAAABAS9JxQAAAAOAuaklAAA=="/>
  <p:tag name="GRUNT-X-PAGEOBJECT" val="AQUCoTEKOEFsdHVhLk9hay5Db3JlLkRvY3VtZW50TW9kZWwuQ2hhcnRPYmplY3QsIEFsdHVhLk9hay5Db3JlBQI1BBIEEBnwWn8uaz5Curq1CSlwBkUMEgQQA+rbv3IHVEOKur9BB/JsThUNBCUUNRg9HFUgZSQSUEFsdHVhLk9hay5Db3JlLkRvY3VtZW50TW9kZWwuVGVtcGxhdGluZy5DdXN0b21Qb3NpdGlvbkRlZmluaXRpb24sIEFsdHVhLk9hay5Db3JlDQQkBCIBBBiUCnBIN0FAhaDjukKcd0DE7M0+S8pxQHAi9ACRBzBAFBMVKB0sNTA4AEU1DlU8XUBkAgVEGAQEAgVIHAIFTCALBVAMBW5iLU5PFVQkEAEBCQERARkBIQEpATEBOQAoFgQSBBAAAAAAAAAAAAAAAAAAAAAACAEsFgQSBBAAAAAAAAAAAAAAAAAAAAAACAEwADpHQWx0dWEuT2FrLkNvcmUuQ2hhcnQuQ2x1c3RlcmVkQmFyV2l0aExpbmVQbG90RGVmaW5pdGlvbiwgQWx0dWEuT2FrLkNvcmU1DjUEEgQQyRH8VR7iIECDmQK7s7YEb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W9AH4AfwBgAKEAogCjAKQApQCmAKcAogBSQQSBBA5rqFLY+crUa/3h5kmPemoDBIEEAJ5T7dLGTROtKkJVr2gF2sVoAIcEgQQ6NwaFbIJ/EeQekLL/HFgWyQBAS2kAjWpAkuMAUkEEgQQ3hL/oLfjmVGNga5GutPNVQwSBBACeU+3Sxk0TrSpCVa9oBdrFbACHBIEEPksWf79329Fuf5n0yPSqyMkAQEttAI1qQJLkAFCAQAYAyW4AikAMQBAAEgCVbwCXcACZBIEEAJ5T7dLGTROtKkJVr2gF2ttxAJ1yAKNAcwCkQEBnQHQAqUB1AK1AdgClAECAQCYAQUEAwXcApwBBQQDBeACoAEFBAMF5AKkAQUEAwXoAqgBBQQDBdwCrAEFBAMF3AKwAQUEAwXsArQBBQQDBfACuAEFBAMF9AK8AQUEAwX4AsABBQQDBfwCxAEFBAMFgAPIAQUEAwWEA8wBBQQDBYgD0AEFBAMFjAPUAQUEAwWQA9gBBQQDBZQD3AEFBAMFmAPgAQUEAwWcA+QBBQQDBaAD6AECAQDsAQYFpQNqCATwAQYFrQNqCAT0ASsEEgQQtnl8ctBB8lCqeXW5srpkmwwSBBAf64w4piHLS4kyF0IE31g0HAEB+AErBBIEEK3xkaMagnVfuHWmb/AH5o0MEgQQdZ6YkVxDK0eAjaDLHe+U4xwBAfwBKwQSBBAUgTfa/GNkVrpdQgis1b/wDBIEEDN2LlbKrM9DuJ/41/dD8iIcAQGAAisEEgQQd2MwujbKQFSz3yjnTKcylwwSBBBZn2HmWJE/SIQqnrz3HmVGHAEBhAIrBBIEED1DZfZn2ddWnpP2n9ATgkIMEgQQ5PInsc7xekOZNXqmuIfDUhwBAYgCKwQSBBCD+4py9nD8QKBTKFF6ohauDBIEEJvzN8z2MBhPpn+BGWPNv6ocAQGMAisEEgQQUp3Hd2NQf0aKrpw65Q0tWAwSBBC/BNzlG01aS63JT5V8CUTVHAEBkAIrBBIEEJcFcGzx2fpNmxxZeq8thPUMEgQQHQWFMRz7TkSitZTvRM8LzhwBAZQCKwQSBBBrSd+3cy9oT6p3sNZBUA3rDBIEEPvRt2941KNPtNbA4wnNe0kcAQGYAisEEgQQ4ikfsnaK4EuJU/fmpsixuQwSBBDoAmmIksVpR4Wcmdp5Uj9+HAEBnAIrBBIEEEAq3kmQwJxKnB8PlG7IsdMMEgQQ2l47+0cTPky0l42NcMy3CBwBAaACBQWwAwgBpAIEBQAIAa4CPkFsdHVhLk9hay5Db3JlLkNoYXJ0LkRlZmF1bHRQbG90U2VyaWVzU2V0dGluZ3MsIEFsdHVhLk9hay5Db3JlqQJLALACBQW0AwgBtAIEBQAIAbgCCwMAAAAAAAAAAAgCvAILAwAAAAAAAAAACAHAAgsDAAAAAAAAAAAIAcQCFQW4Aw28AxXAAx3EAyXIAy3MAzXQA8gCBw3UAxXZA2rMAgsDAAAAAAAAAAAIBNACBgXdA2oIBNQCBgXdA2oIBNgCBQQDBeAD3AICAQDgAg4BBuQD6APsA/AD9AP4A+QCBAEB/APoAgIBAOwCAgEA8AICAQD0AhIBCIAEhASIBIwEkASUBJgEnAT4AgIBAPwCDgEGoASkBKgErASwBLQEgAMQAQe4BLwEwATEBMgEzATQBIQDAgEAiAMEAQHUBIwDCgEE2ATcBOAE5ASQAwIBAJQDAgEAmAMCAQCcAwIBAKADAgEAqgMzQWx0dWEuT2FrLkNvcmUuVGhlbWluZy5Db2xvclBvaW50ZXIsIEFsdHVhLk9hay5Db3JlpQNqUFBQ/60DalBQUP+wAwUEAwXoBLQDBQQDBewEuAMHBAMEAQAIBLwDBQQBLggEwAMEAAEIBMQDBAAACATIAwQEAAgEzAMEBAAIBNADBAAACATUAwUEAwXwBNkDaj4+5f/dA2pQUFD/4AMCAQDkAw4F9QSeAQsAAAAAAAAAAOgDDgX9BKABCwAAAAAAAAAA7AMOBYUFogELAAAAAAAA4D/wAw4FjQWkAQsAAAAAAADgP/QDDgWVBaYBCwAAAAAAAOA/+AMOBZ0FqAELAAAAAAAA+D/8AwgFpQWmAQ2oBYAECgWtBawBDbUFrgGEBAoFvQWeAQ3BBbEBiAQKBckFogENzQWxAYwECgXRBaQBDdUFsQGQBAkF2QW3AQ3hBWqUBAoF5QW6AQ3tBbEBmAQKBfEFvQEN+QWxAZwECQX9Bb0BDYEGaqAEBwWFBsIBCQGkBAcFjQbEAQkAqAQHBZUGwgEJAawEBwWZBscBCQGwBAcFoQbJAQkBtAQHBakGywEJAbgECgWxBs0BDbkGzwG8BAoFwQbRAQ3JBtMBwAQKBdEG1QEN2QbXAcQECgXhBtUBDdkG1wHIBAoF5QbEAQ3pBtsBzAQKBfEGyQEN6QbbAdAECgX1BssBDfkG3wHUBAoFgQfhAQ2JB+MB2AQKBZEHxAENlQfmAdwECgWdB9EBDaEH5gHgBAoFpQfJAQ2pB+YB5AQKBa0HzQENsQfmAegEBgEBtQfuAewEBgEBvQfuAfAEBAECAQT6BFNBbHR1YS5PYWsuQ29yZS5Nb2RpZmljYXRpb24uU3R5bGluZy5BbGxWYWx1ZUF4aXNDdXN0b21pemF0aW9uVGFyZ2V0LCBBbHR1YS5PYWsuQ29yZfUEngEAggVZQWx0dWEuT2FrLkNvcmUuTW9kaWZpY2F0aW9uLlN0eWxpbmcuVmFsdWVBeGlzR3JpZGxpbmVzQ3VzdG9taXphdGlvblRhcmdldCwgQWx0dWEuT2FrLkNvcmX9BKABAIoFU0FsdHVhLk9hay5Db3JlLk1vZGlmaWNhdGlvbi5TdHlsaW5nLkNhdGVnb3J5QXhpc0N1c3RvbWl6YXRpb25UYXJnZXQsIEFsdHVhLk9hay5Db3JlhQWiAQCSBVBBbHR1YS5PYWsuQ29yZS5Nb2RpZmljYXRpb24uU3R5bGluZy5Pcmlnb0xpbmVDdXN0b21pemF0aW9uVGFyZ2V0LCBBbHR1YS5PYWsuQ29yZY0FpAEAmgVdQWx0dWEuT2FrLkNvcmUuTW9kaWZpY2F0aW9uLlN0eWxpbmcuQWxsQ29ubmVjdG9yc0F1eGlsaWFyeUN1c3RvbWl6YXRpb25UYXJnZXQsIEFsdHVhLk9hay5Db3JllQWmAQCiBVlBbHR1YS5PYWsuQ29yZS5Nb2RpZmljYXRpb24uU3R5bGluZy5TZXJpZXNXaXRoUGxvdEtpbmRDdXN0b21pemF0aW9uVGFyZ2V0LCBBbHR1YS5PYWsuQ29yZZ0FqAEDBcAHpQWmAQCoBQUMAwXEB7IFVkFsdHVhLk9hay5Db3JlLk1vZGlmaWNhdGlvbi5TdHlsaW5nLkFsbFNlcmllc01hcmtlckN1c3RvbWl6YXRpb25UYXJnZXQsIEFsdHVhLk9hay5Db3JlrQWsAQC6BTpBbHR1YS5PYWsuQ29yZS5UaGVtaW5nLkJpbmRpbmdDb2xvclBvaW50ZXIsIEFsdHVhLk9hay5Db3JltQWuAQUFyQfzAb0FngEAxgU3QWx0dWEuT2FrLkNvcmUuVGhlbWluZy5QYWdlQ29sb3JQb2ludGVyLCBBbHR1YS5PYWsuQ29yZcEFsQEEAAAIAMkFogEAzQWxAQQAAAgA0QWkAQDVBbEBBAAACADeBVNBbHR1YS5PYWsuQ29yZS5Nb2RpZmljYXRpb24uU3R5bGluZy5BbGxHcmlkbGluZXNDdXN0b21pemF0aW9uVGFyZ2V0LCBBbHR1YS5PYWsuQ29yZdkFtwEA4QVqgICA/+oFTUFsdHVhLk9hay5Db3JlLk1vZGlmaWNhdGlvbi5TdHlsaW5nLlNlcmllc0N1c3RvbWl6YXRpb25UYXJnZXQsIEFsdHVhLk9hay5Db3Jl5QW6ARQEEgQQ3hL/oLfjmVGNga5GutPNVe0FsQEEAAkIAPYFUEFsdHVhLk9hay5Db3JlLk1vZGlmaWNhdGlvbi5TdHlsaW5nLkRhdGFQb2ludEN1c3RvbWl6YXRpb25UYXJnZXQsIEFsdHVhLk9hay5Db3Jl8QW9ASgEEgQQOa6hS2PnK1Gv94eZJj3pqAwSBBCt8ZGjGoJ1X7h1pm/wB+aN+QWxAQQABQgA/QW9ASgEEgQQOa6hS2PnK1Gv94eZJj3pqAwSBBC2eXxy0EHyUKp5dbmyumSbgQZq8LAA/4oGWEFsdHVhLk9hay5Db3JlLk1vZGlmaWNhdGlvbi5TdHlsaW5nLlNlcmllc0xhYmVsT2ZUeXBlQ3VzdG9taXphdGlvblRhcmdldCwgQWx0dWEuT2FrLkNvcmWFBsIBAgACkgZYQWx0dWEuT2FrLkNvcmUuTW9kaWZpY2F0aW9uLlN0eWxpbmcuQWxsVmFsdWVBeGlzTGFiZWxDdXN0b21pemF0aW9uVGFyZ2V0LCBBbHR1YS5PYWsuQ29yZY0GxAEAlQbCAQIAAJ4GVUFsdHVhLk9hay5Db3JlLk1vZGlmaWNhdGlvbi5TdHlsaW5nLkFsbFRvdGFsTGFiZWxzQ3VzdG9taXphdGlvblRhcmdldCwgQWx0dWEuT2FrLkNvcmWZBscBAKYGV0FsdHVhLk9hay5Db3JlLk1vZGlmaWNhdGlvbi5TdHlsaW5nLkFsbENhdGVnb3J5TGFiZWxDdXN0b21pemF0aW9uVGFyZ2V0LCBBbHR1YS5PYWsuQ29yZaEGyQEArgZYQWx0dWEuT2FrLkNvcmUuTW9kaWZpY2F0aW9uLlN0eWxpbmcuQWxsQXV4aWxpYXJ5TGFiZWxDdXN0b21pemF0aW9uVGFyZ2V0LCBBbHR1YS5PYWsuQ29yZakGywEAtgZYQWx0dWEuT2FrLkNvcmUuTW9kaWZpY2F0aW9uLlN0eWxpbmcuQ2F0ZWdvcnlBeGlzVGl0bGVDdXN0b21pemF0aW9uVGFyZ2V0LCBBbHR1YS5PYWsuQ29yZbEGzQEAvgZGQWx0dWEuT2FrLkNvcmUuUGxvdHRpbmcuQXhpc1RpdGxlTGFiZWxQbGFjZW1lbnRPdXRzaWRlLCBBbHR1YS5PYWsuQ29yZbkGzwECAAHGBl1BbHR1YS5PYWsuQ29yZS5Nb2RpZmljYXRpb24uU3R5bGluZy5BbGxWYWx1ZUF4aXNUaXRsZUxhYmVsQ3VzdG9taXphdGlvblRhcmdldCwgQWx0dWEuT2FrLkNvcmXBBtEBAM4GQkFsdHVhLk9hay5Db3JlLlBsb3R0aW5nLkF4aXNUaXRsZUxhYmVsUGxhY2VtZW50RmFyLCBBbHR1YS5PYWsuQ29yZckG0wECAADWBl9BbHR1YS5PYWsuQ29yZS5Nb2RpZmljYXRpb24uU3R5bGluZy5TZXJpZXNMYWJlbHNXaXRoUGxvdEtpbmRDdXN0b21pemF0aW9uVGFyZ2V0LCBBbHR1YS5PYWsuQ29yZdEG1QEFBdAHCADeBj1BbHR1YS5PYWsuQ29yZS5QbG90dGluZy5MYWJlbFBsYWNlbWVudE91dHNpZGUsIEFsdHVhLk9hay5Db3Jl2QbXAQDhBtUBBQXUBwgA5QbEAQDuBkFBbHR1YS5PYWsuQ29yZS5QbG90dGluZy5BeGlzTGFiZWxQbGFjZW1lbnRPdXRzaWRlLCBBbHR1YS5PYWsuQ29yZekG2wECAQDxBskBAPUGywEA/gZGQWx0dWEuT2FrLkNvcmUuUGxvdHRpbmcuQXV4aWxpYXJ5TGFiZWxQbGFjZW1lbnREZWZhdWx0LCBBbHR1YS5PYWsuQ29yZfkG3wEAhgdQQWx0dWEuT2FrLkNvcmUuTW9kaWZpY2F0aW9uLlN0eWxpbmcuQWxsTGFiZWxzQ3VzdG9taXphdGlvblRhcmdldCwgQWx0dWEuT2FrLkNvcmWBB+EBAI4HQkFsdHVhLk9hay5Db3JlLlN5bnRheFN0cnVjdHVyZS5BY3R1YWxGb250U2l6ZVZhbHVlLCBBbHR1YS5PYWsuQ29yZYkH4wEJAwAAAAAAAChAkQfEAQCaB0NBbHR1YS5PYWsuQ29yZS5TeW50YXhTdHJ1Y3R1cmUuQWN0dWFsRm9udENvbG9yVmFsdWUsIEFsdHVhLk9hay5Db3JllQfmAQUF2QexAZ0H0QEAoQfmAQUF3QexAaUHyQEAqQfmAQUF4QexAa0HzQEAsQfmAQUF5QexAboHL0FsdHVhLkRhdGEuSW5mcmFzdHJ1Y3R1cmUuUGFyYWdyYXBoLCBBbHR1YS5EYXRhtQfuAQUMAwXoB70H7gEFDAMF7AfABwEFxAcKAQIAAIBAAABAQM4HSEFsdHVhLk9hay5Db3JlLlN5bnRheFN0cnVjdHVyZS5QbG90U2VyaWVzQmluZGluZ1N0cmF0ZWd5LCBBbHR1YS5PYWsuQ29yZckH8wEA0AcCCQrUBwEF2QexAQQAAAgA3QexAQQAAAgA4QexAQQAAAgA5QexAQQAAAgA6AcGAQHxB/0B7AcGAQH5B/8B9gcvQWx0dWEuRGF0YS5JbmZyYXN0cnVjdHVyZS5OdW1iZXJSdW4sIEFsdHVhLkRhdGHxB/0BEwQOAwAAAAAAoJ9AHYEIgQINiAj+By1BbHR1YS5EYXRhLkluZnJhc3RydWN0dXJlLlRleHRSdW4sIEFsdHVhLkRhdGH5B/8BCgQFTm9yZ2UNjAiGCD1BbHR1YS5EYXRhLk51bWJlckZvcm1hdHRpbmcuQ29tcG9zaXRlTnVtYmVyRm9ybWF0LCBBbHR1YS5EYXRhgQiBAgsdkAgllAg1mAg9AIgIEgQAHAAkACwANAA8AEwAVABdAIwIEgQAHAAkACwANAA8AEwAVABdAJAICQAADAMFnAgRAJQICQAADAMFoAgRAJgICgQBLAwBLhQCa3KcCAYBAaUIigKgCAoBAq0IjAKlCIoCqghAQWx0dWEuRGF0YS5OdW1iZXJGb3JtYXR0aW5nLk51bWJlckZvcm1hdFZhbHVlU2VnbWVudCwgQWx0dWEuRGF0YaUIigIFBAMFtAiyCD9BbHR1YS5EYXRhLk51bWJlckZvcm1hdHRpbmcuTnVtYmVyRm9ybWF0VGV4dFNlZ21lbnQsIEFsdHVhLkRhdGGtCIwCBQQBLQkBtAgGAQG5CI8Cvgg5QWx0dWEuRGF0YS5OdW1iZXJGb3JtYXR0aW5nLk51bWJlclBsYWNlaG9sZGVyLCBBbHR1YS5EYXRhuQiPAgUCMAAAAA=="/>
  <p:tag name="GRUNT-SYNC" val="7f75beda68a143848da5bbd7730135a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yB0KN0FsdHVhLkRhdGEuRGF0YVNlcnZpY2VzLkVtYmVkZGVkRGF0YVNlcnZpY2UsIEFsdHVhLkRhdGEFAhkEEgQQ3qaIHHEa6keOHLgv3OcX9w0MJREFDAYFGAgUEAoWQUFsdHVhLkRhdGEuRGF0YVNlcnZpY2VzLkVtYmVkZGVkRGF0YVNlcnZpY2VFZGl0b3JEYXRhLCBBbHR1YS5EYXRhEQUEBRwNIBgGBSQNKBUsHDwdBBIEENNz8cQb9wFOoDLwDWItJDkLAAAAAAAAHEAdBBIEEB/rjDimIctLiTIXQgTfWDQLAAAAAAAgYkAgeB0EEgQQBbe507cO9EmRZBhNRm5FrAsAAAAAAAAyQB0EEgQQhB+R4huFNUGwuFZrPUlJDwsAAAAAAAAyQB0EEgQQ+SxZ/v3fb0W5/mfTI9KrIwsAAAAAAAAyQB0EEgQQpMGu42cTaEKoGY8xflruyQsAAAAAAAAyQCQFMDQ4PEAoA0RITCymBSwEKAQSBBDajSsQe0+aTJlGK/NOL/gcDBIEEF+XkJfEWrtCmxAwBnFOxVkNUCwEKAQSBBB1npiRXEMrR4CNoMsd75TjDBIEEF+XkJfEWrtCmxAwBnFOxVkNVCwEKAQSBBAf64w4piHLS4kyF0IE31g0DBIEEBF5bi6YHOlPpT4SGa3b+1UNWCwEKAQSBBAf64w4piHLS4kyF0IE31g0DBIEEOjcGhWyCfxHkHpCy/xxYFsNXCwEKAQSBBDiZ4LqncAVT7eeYK508WqGDBIEEF+XkJfEWrtCmxAwBnFOxVkNYCwEKAQSBBAf64w4piHLS4kyF0IE31g0DBIEEF+XkJfEWrtCmxAwBnFOxVkNZCwEKAQSBBD3DW6nGDeySJvO+xOVXgd1DBIEEF+XkJfEWrtCmxAwBnFOxVkNaCwEKAQSBBB1npiRXEMrR4CNoMsd75TjDBIEEBF5bi6YHOlPpT4SGa3b+1UNbCwEKAQSBBD3DW6nGDeySJvO+xOVXgd1DBIEEBF5bi6YHOlPpT4SGa3b+1UNcCwEKAQSBBDiZ4LqncAVT7eeYK508WqGDBIEEBF5bi6YHOlPpT4SGa3b+1UNdCwEKAQSBBDajSsQe0+aTJlGK/NOL/gcDBIEEBF5bi6YHOlPpT4SGa3b+1UNeCwEKAQSBBD3DW6nGDeySJvO+xOVXgd1DBIEEOjcGhWyCfxHkHpCy/xxYFsNfC0EKAQSBBDiZ4LqncAVT7eeYK508WqGDBIEEOjcGhWyCfxHkHpCy/xxYFsNgAEtBCgEEgQQ2o0rEHtPmkyZRivzTi/4HAwSBBDo3BoVsgn8R5B6Qsv8cWBbDYQBLQQoBBIEEHWemJFcQytHgI2gyx3vlOMMEgQQ6NwaFbIJ/EeQekLL/HFgWw2IATAaBBIEENqNKxB7T5pMmUYr804v+BwMAkMxGQE0GgQSBBAf64w4piHLS4kyF0IE31g0DAJDMhkBOBoEEgQQdZ6YkVxDK0eAjaDLHe+U4wwCQzMZATwbBBIEEPcNbqcYN7JIm877E5VeB3UMA0MxOBkBQBsEEgQQ4meC6p3AFU+3nmCudPFqhgwDQzE5GQFEGgQSBBBfl5CXxFq7QpsQMAZxTsVZDAJSMRkBSBoEEgQQ6NwaFbIJ/EeQekLL/HFgWwwCUjIZAUwaBBIEEBF5bi6YHOlPpT4SGa3b+1UMAlI3GQFQBg2MARWQAVQGDYwBFZQBWAYNmAEVnAFcBg2MARWgAWAGDZgBFaQBZAYNjAEVqAFoBg2YARWsAWwGDZgBFbABcAYNmAEVtAF0Bg2YARW4AXgGDZgBFbwBfAYNmAEVwAGAAQYNmAEVxAGEAQYNjAEVyAGIAQYNjAEVzAGMAQIEAJABBQQDBdABlAEFBAMF1AGYAQIEAJwBBQQDBdgBoAEFBAMF3AGkAQUEAwXgAagBBQQDBeQBrAEFBAMF6AGwAQUEAwXsAbQBBQQDBfABuAEFBAMF9AG8AQUEAwX4AcABBQQDBfwBxAEFBAMFgALIAQUEAwWEAswBBQQDBYgC0AECAQDUAQUBAY0CRNgBBQEBlQJE3AEFAQGZAkTgAQUBAZ0CROQBBQEBoQJE6AEFAQGlAkTsAQUBAakCRPABBQEBrQJE9AEFAQGxAkT4AQUBAbUCRPwBBQEBuQJEgAIFAQG9AkSEAgUBAcECRIgCBQEBxQJEkgIvQWx0dWEuRGF0YS5JbmZyYXN0cnVjdHVyZS5QYXJhZ3JhcGgsIEFsdHVhLkRhdGGNAkQFDAMFyAKVAkQFDAMFzAKZAkQFDAMF0AKdAkQFDAMF1AKhAkQFDAMF2AKlAkQFDAMF3AKpAkQFDAMF4AKtAkQFDAMF5AKxAkQFDAMF6AK1AkQFDAMF7AK5AkQFDAMF8AK9AkQFDAMF9ALBAkQFDAMF+ALFAkQFDAMF/ALIAgUBAYEDYcwCBQEBiQNj0AIFAQGRA2PUAgUBAZUDYdgCBQEBmQNh3AIFAQGdA2HgAgUBAaEDY+QCBQEBpQNj6AIFAQGpA2PsAgUBAa0DY/ACBQEBsQNj9AIFAQG1A2P4AgUBAbkDY/wCBQEBvQNjhgMtQWx0dWEuRGF0YS5JbmZyYXN0cnVjdHVyZS5UZXh0UnVuLCBBbHR1YS5EYXRhgQNhFAQPVHLDuG5kZWxhZyBTw7hyDcADjgMvQWx0dWEuRGF0YS5JbmZyYXN0cnVjdHVyZS5OdW1iZXJSdW4sIEFsdHVhLkRhdGGJA2MSBA0DAAAAAAAAIEAdxQNyDcwDkQNjEgQNAwAAAAAAABRAHdEDcg3MA5UDYQoEBU5vcmdlDdQDmQNhFAQPVHLDuG5kZWxhZyBOb3JkDdgDnQNhFQQQTcO4cmUgb2cgUm9tc2RhbA3AA6EDYxIEDQMAAAAAAAAYQB3dA3INzAOlA2MSBA0DAAAAAAAAFEAd4QNyDcwDqQNjEgQNAwAAAAAAABhAHeUDcg3MA60DYxIEDQMAAAAAAJyfQB3pA3IN7AOxA2MSBA0DAAAAAAAAAAAd8QNyDcwDtQNjEgQNAwAAAAAAACJAHfUDcg3MA7kDYxIEDQMAAAAAAKCfQB35A3IN/AO9A2MSBA0DAAAAAAAACEAdgQRyDcwDwAMSBAAcACQALAA0ADwATABUAF0AygM9QWx0dWEuRGF0YS5OdW1iZXJGb3JtYXR0aW5nLkNvbXBvc2l0ZU51bWJlckZvcm1hdCwgQWx0dWEuRGF0YcUDcgsdhAQliAQ1jAQ9AMwDEgQAHAAkACwANAA8AEwAVABdANEDcgsdkAQllAQ1mAQ9ANQDEgQAHAAkACwANAA8AEwAVABdANgDEgQAHAAkACwANAA8AEwAVABdAN0DcgsdnAQloAQ1pAQ9AOEDcgsdqAQlrAQ1sAQ9AOUDcgsdtAQluAQ1vAQ9AOkDcgsdwAQlxAQ1yAQ9AOwDEgQAHAAkACwANAA8AEwAVABdAPEDcgsdzAQl0AQ11AQ9APUDcgsd2AQl3AQ14AQ9APkDcgsd5AQl6AQ17AQ9APwDEgQAHAAkACwANAA8AEwAVABdAIEEcgsd8AQl9AQ1+AQ9AIQECQAADAMF/AQRAIgECQAADAMFgAURAIwECgQBLAwBLhQCa3KQBAkAAAwDBYQFEQCUBAkAAAwDBYgFEQCYBAoEASwMAS4UAmtynAQJAAAMAwWMBREAoAQJAAAMAwWQBREApAQKBAEsDAEuFAJrcqgECQAADAMFlAURAKwECQAADAMFmAURALAECgQBLAwBLhQCa3K0BAkAAAwDBZwFEQC4BAkAAAwDBaAFEQC8BAoEASwMAS4UAmtywAQJAAAMAwWkBREAxAQJAAAMAwWoBREAyAQKBAEsDAEuFAJrcswECQAADAMFrAURANAECQAADAMFsAURANQECgQBLAwBLhQCa3LYBAkAAAwDBbQFEQDcBAkAAAwDBbgFEQDgBAoEASwMAS4UAmty5AQJAAAMAwW8BREA6AQJAAAMAwXABREA7AQKBAEsDAEuFAJrcvAECQAADAMFxAURAPQECQAADAMFyAURAPgECgQBLAwBLhQCa3L8BAYBAc0FtAGABQoBAtUFtgHNBbQBhAUGAQHdBbQBiAUKAQLhBbYB3QW0AYwFBgEB5QW0AZAFCgEC6QW2AeUFtAGUBQYBAe0FtAGYBQoBAvEFtgHtBbQBnAUGAQH1BbQBoAUKAQL5BbYB9QW0AaQFBgEB/QW0AagFCgECgQa2Af0FtAGsBQYBAYUGtAGwBQoBAokGtgGFBrQBtAUGAQGNBrQBuAUKAQKRBrYBjQa0AbwFBgEBlQa0AcAFCgECmQa2AZUGtAHEBQYBAZ0GtAHIBQoBAqEGtgGdBrQB0gVAQWx0dWEuRGF0YS5OdW1iZXJGb3JtYXR0aW5nLk51bWJlckZvcm1hdFZhbHVlU2VnbWVudCwgQWx0dWEuRGF0Yc0FtAEFBAMFpAbaBT9BbHR1YS5EYXRhLk51bWJlckZvcm1hdHRpbmcuTnVtYmVyRm9ybWF0VGV4dFNlZ21lbnQsIEFsdHVhLkRhdGHVBbYBBQQBLQkB3QW0AQUEAwWoBuEFtgEFBAEtCQHlBbQBBQQDBawG6QW2AQUEAS0JAe0FtAEFBAMFsAbxBbYBBQQBLQkB9QW0AQUEAwW0BvkFtgEFBAEtCQH9BbQBBQQDBbgGgQa2AQUEAS0JAYUGtAEFBAMFvAaJBrYBBQQBLQkBjQa0AQUEAwXABpEGtgEFBAEtCQGVBrQBBQQDBcQGmQa2AQUEAS0JAZ0GtAEFBAMFyAahBrYBBQQBLQkBpAYGAQHNBtQBqAYGAQHNBtQBrAYGAQHNBtQBsAYGAQHNBtQBtAYGAQHNBtQBuAYGAQHVBtQBvAYGAQHNBtQBwAYGAQHNBtQBxAYGAQHZBtQByAYGAQHNBtQB0gY5QWx0dWEuRGF0YS5OdW1iZXJGb3JtYXR0aW5nLk51bWJlclBsYWNlaG9sZGVyLCBBbHR1YS5EYXRhzQbUAQUCMAAAANUG1AEFAjAAAADZBtQBBQIwAAAA"/>
  <p:tag name="GRUNT-RENDERHASH" val="36d9e7a193509f2cfed8764902230da9-svg"/>
  <p:tag name="GRUNT-X-SHAPEBOUNDS" val="ASIBBAAAAGBKrnZAAAAAQI1MdkAAAAAANMVxQAAAAMDVC1BAAA=="/>
  <p:tag name="GRUNT-X-PAGEOBJECT" val="AQUC7S0KOEFsdHVhLk9hay5Db3JlLkRvY3VtZW50TW9kZWwuQ2hhcnRPYmplY3QsIEFsdHVhLk9hay5Db3JlBQI1BBIEELtUv43eXJ5CpCqqK75tLiIMEgQQ3qaIHHEa6keOHLgv3OcX9xUNBCUUNRg9HFUgZSQSUEFsdHVhLk9hay5Db3JlLkRvY3VtZW50TW9kZWwuVGVtcGxhdGluZy5DdXN0b21Qb3NpdGlvbkRlZmluaXRpb24sIEFsdHVhLk9hay5Db3JlDQQkBCIBBMWZGlFKsnZAn9nw/lkZd0BHP8/4M71xQIBeCILwyDlAFBMVKB0sNTA4AEU1DlU8XUBkAgVEGAQEAgVIHAIFTCALBVAMBW5iLU5PFVQkEAEBCQERARkBIQEpATEBOQAoFgQSBBAAAAAAAAAAAAAAAAAAAAAACAEsFgQSBBAAAAAAAAAAAAAAAAAAAAAACAEwADpHQWx0dWEuT2FrLkNvcmUuQ2hhcnQuQ2x1c3RlcmVkQmFyV2l0aExpbmVQbG90RGVmaW5pdGlvbiwgQWx0dWEuT2FrLkNvcmU1DjUEEgQQu7cG1mc2T0am5InURLJs1B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BorzPmQfTGToFSHqKEFvw/FYQCHBIEEBF5bi6YHOlPpT4SGa3b+1UkAC2IAjWNAkSMAUgEEgQQOa6hS2PnK1Gv94eZJj3pqAwSBBBorzPmQfTGToFSHqKEFvw/FZQCHBIEEOjcGhWyCfxHkHpCy/xxYFskAC2YAjWNAkSQAUIBABgDJZwCKQAxAEAASAJVoAJdpAJkEgQQaK8z5kH0xk6BUh6ihBb8P2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903d5a5f924b48b2a93679ec7ad3184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whkKN0FsdHVhLkRhdGEuRGF0YVNlcnZpY2VzLkVtYmVkZGVkRGF0YVNlcnZpY2UsIEFsdHVhLkRhdGEFAhkEEgQQDhsKeO8Gt0atr8j6d7hd6A0MJREFDAYFGAgUEAoWQUFsdHVhLkRhdGEuRGF0YVNlcnZpY2VzLkVtYmVkZGVkRGF0YVNlcnZpY2VFZGl0b3JEYXRhLCBBbHR1YS5EYXRhEQUEBRwNIBgGBSQNKBUsHFodBBIEENNz8cQb9wFOoDLwDWItJDkLAAAAAAAAHEAdBBIEEB/rjDimIctLiTIXQgTfWDQLAAAAAAAgYkAdBBIEEOJnguqdwBVPt55grnTxaoYLAAAAAACAREAgeB0EEgQQBbe507cO9EmRZBhNRm5FrAsAAAAAAAAyQB0EEgQQhB+R4huFNUGwuFZrPUlJDwsAAAAAAAAyQB0EEgQQ+SxZ/v3fb0W5/mfTI9KrIwsAAAAAAAAyQB0EEgQQpMGu42cTaEKoGY8xflruyQsAAAAAAAAyQCQEMDQ4PCgDQERILJwELAQoBBIEENqNKxB7T5pMmUYr804v+BwMEgQQX5eQl8Rau0KbEDAGcU7FWQ1MLAQoBBIEEHWemJFcQytHgI2gyx3vlOMMEgQQX5eQl8Rau0KbEDAGcU7FWQ1QLAQoBBIEEB/rjDimIctLiTIXQgTfWDQMEgQQEXluLpgc6U+lPhIZrdv7VQ1ULAQoBBIEEB/rjDimIctLiTIXQgTfWDQMEgQQ6NwaFbIJ/EeQekLL/HFgWw1YLAQoBBIEEB/rjDimIctLiTIXQgTfWDQMEgQQX5eQl8Rau0KbEDAGcU7FWQ1cLAQoBBIEEPcNbqcYN7JIm877E5VeB3UMEgQQX5eQl8Rau0KbEDAGcU7FWQ1gLAQoBBIEEHWemJFcQytHgI2gyx3vlOMMEgQQEXluLpgc6U+lPhIZrdv7VQ1kLAQoBBIEEPcNbqcYN7JIm877E5VeB3UMEgQQEXluLpgc6U+lPhIZrdv7VQ1oLAQoBBIEENqNKxB7T5pMmUYr804v+BwMEgQQEXluLpgc6U+lPhIZrdv7VQ1sLAQoBBIEEPcNbqcYN7JIm877E5VeB3UMEgQQ6NwaFbIJ/EeQekLL/HFgWw1wLAQoBBIEENqNKxB7T5pMmUYr804v+BwMEgQQ6NwaFbIJ/EeQekLL/HFgWw10LAQoBBIEEHWemJFcQytHgI2gyx3vlOMMEgQQ6NwaFbIJ/EeQekLL/HFgWw14MBoEEgQQ2o0rEHtPmkyZRivzTi/4HAwCQzEZATQaBBIEEB/rjDimIctLiTIXQgTfWDQMAkMyGQE4GgQSBBB1npiRXEMrR4CNoMsd75TjDAJDMxkBPBsEEgQQ9w1upxg3skibzvsTlV4HdQwDQzE4GQFAGgQSBBBfl5CXxFq7QpsQMAZxTsVZDAJSMRkBRBoEEgQQ6NwaFbIJ/EeQekLL/HFgWwwCUjIZAUgaBBIEEBF5bi6YHOlPpT4SGa3b+1UMAlI3GQFMBQ18FYABUAUNfBWEAVQGDYgBFYwBWAUNfBWQAVwFDXwVlAFgBg2IARWYAWQGDYgBFZwBaAYNiAEVoAFsBg2IARWkAXAGDYgBFagBdAUNfBWsAXgFDXwVsAF8AgQAgAEFBAMFtAGEAQUEAwW4AYgBAgQAjAEFBAMFvAGQAQUEAwXAAZQBBQQDBcQBmAEFBAMFyAGcAQUEAwXMAaABBQQDBdABpAEFBAMF1AGoAQUEAwXYAawBBQQDBdwBsAEFBAMF4AG0AQIBALgBBQEB5QE6vAEFAQHtATrAAQUBAfEBOsQBBQEB9QE6yAEFAQH5ATrMAQUBAf0BOtABBQEBgQI61AEFAQGFAjrYAQUBAYkCOtwBBQEBjQI64AEFAQGRAjrqAS9BbHR1YS5EYXRhLkluZnJhc3RydWN0dXJlLlBhcmFncmFwaCwgQWx0dWEuRGF0YeUBOgUMAwWUAu0BOgUMAwWYAvEBOgUMAwWcAvUBOgUMAwWgAvkBOgUMAwWkAv0BOgUMAwWoAoECOgUMAwWsAoUCOgUMAwWwAokCOgUMAwW0Ao0COgUMAwW4ApECOgUMAwW8ApQCBQEBwQJRmAIFAQHJAlOcAgUBAdECU6ACBQEB1QJRpAIFAQHZAlGoAgUBAd0CU6wCBQEB4QJTsAIFAQHlAlO0AgUBAekCU7gCBQEB7QJTvAIFAQHxAlPGAi1BbHR1YS5EYXRhLkluZnJhc3RydWN0dXJlLlRleHRSdW4sIEFsdHVhLkRhdGHBAlESBA01LjAwMOKAkzkuOTk5DfQCzgIvQWx0dWEuRGF0YS5JbmZyYXN0cnVjdHVyZS5OdW1iZXJSdW4sIEFsdHVhLkRhdGHJAlMSBA0DAAAAAAAAJkAd+QJfDYAD0QJTEgQNAwAAAAAAAAAAHYUDXw2IA9UCURAEC1VuZGVyIDUuMDAwDYwD2QJRFwQSMTAuMDAwIGVsbGVyIGZsZXJlDZAD3QJTEgQNAwAAAAAAABhAHZUDXw2IA+ECUxIEDQMAAAAAAAAAAB2ZA18NiAPlAlMSBA0DAAAAAACcn0AdnQNfDaAD6QJTEgQNAwAAAAAAABhAHaUDXw2IA+0CUxIEDQMAAAAAAKCfQB2pA18NrAPxAlMSBA0DAAAAAAAAAAAdsQNfDYgD9AISBAAcACQALAA0ADwATABUAF0A/gI9QWx0dWEuRGF0YS5OdW1iZXJGb3JtYXR0aW5nLkNvbXBvc2l0ZU51bWJlckZvcm1hdCwgQWx0dWEuRGF0YfkCXwsdtAMluAM1vAM9AIADEgQAHAAkACwANAA8AEwAVABdAIUDXwsdwAMlxAM1yAM9AIgDEgQAHAAkACwANAA8AEwAVABdAIwDEgQAHAAkACwANAA8AEwAVABdAJADEgQAHAAkACwANAA8AEwAVABdAJUDXwsdzAMl0AM11AM9AJkDXwsd2AMl3AM14AM9AJ0DXwsd5AMl6AM17AM9AKADEgQAHAAkACwANAA8AEwAVABdAKUDXwsd8AMl9AM1+AM9AKkDXwsd/AMlgAQ1hAQ9AKwDEgQAHAAkACwANAA8AEwAVABdALEDXwsdiAQljAQ1kAQ9ALQDCQAADAMFlAQRALgDCQAADAMFmAQRALwDCgQBLAwBLhQCa3LAAwkAAAwDBZwEEQDEAwkAAAwDBaAEEQDIAwoEASwMAS4UAmtyzAMJAAAMAwWkBBEA0AMJAAAMAwWoBBEA1AMKBAEsDAEuFAJrctgDCQAADAMFrAQRANwDCQAADAMFsAQRAOADCgQBLAwBLhQCa3LkAwkAAAwDBbQEEQDoAwkAAAwDBbgEEQDsAwoEASwMAS4UAmty8AMJAAAMAwW8BBEA9AMJAAAMAwXABBEA+AMKBAEsDAEuFAJrcvwDCQAADAMFxAQRAIAECQAADAMFyAQRAIQECgQBLAwBLhQCa3KIBAkAAAwDBcwEEQCMBAkAAAwDBdAEEQCQBAoEASwMAS4UAmtylAQGAQHVBJYBmAQKAQLdBJgB1QSWAZwEBgEB5QSWAaAECgEC6QSYAeUElgGkBAYBAe0ElgGoBAoBAvEEmAHtBJYBrAQGAQH1BJYBsAQKAQL5BJgB9QSWAbQEBgEB/QSWAbgECgECgQWYAf0ElgG8BAYBAYUFlgHABAoBAokFmAGFBZYBxAQGAQGNBZYByAQKAQKRBZgBjQWWAcwEBgEBlQWWAdAECgECmQWYAZUFlgHaBEBBbHR1YS5EYXRhLk51bWJlckZvcm1hdHRpbmcuTnVtYmVyRm9ybWF0VmFsdWVTZWdtZW50LCBBbHR1YS5EYXRh1QSWAQUEAwWcBeIEP0FsdHVhLkRhdGEuTnVtYmVyRm9ybWF0dGluZy5OdW1iZXJGb3JtYXRUZXh0U2VnbWVudCwgQWx0dWEuRGF0Yd0EmAEFBAEtCQHlBJYBBQQDBaAF6QSYAQUEAS0JAe0ElgEFBAMFpAXxBJgBBQQBLQkB9QSWAQUEAwWoBfkEmAEFBAEtCQH9BJYBBQQDBawFgQWYAQUEAS0JAYUFlgEFBAMFsAWJBZgBBQQBLQkBjQWWAQUEAwW0BZEFmAEFBAEtCQGVBZYBBQQDBbgFmQWYAQUEAS0JAZwFBgEBvQWwAaAFBgEBvQWwAaQFBgEBvQWwAagFBgEBvQWwAawFBgEBxQWwAbAFBgEBvQWwAbQFBgEByQWwAbgFBgEBvQWwAcIFOUFsdHVhLkRhdGEuTnVtYmVyRm9ybWF0dGluZy5OdW1iZXJQbGFjZWhvbGRlciwgQWx0dWEuRGF0Yb0FsAEFAjAAAADFBbABBQIwAAAAyQWwAQUCMAAAAA=="/>
  <p:tag name="GRUNT-RENDERHASH" val="1a7db7e92e10c79ad71ebee42abfd63f-svg"/>
  <p:tag name="GRUNT-X-SHAPEBOUNDS" val="ASIBBAAAAAB1doVAAAAAQI1MdkAAAAAg1JFtQAAAAABFsUpAAA=="/>
  <p:tag name="GRUNT-X-PAGEOBJECT" val="AQUC7S0KOEFsdHVhLk9hay5Db3JlLkRvY3VtZW50TW9kZWwuQ2hhcnRPYmplY3QsIEFsdHVhLk9hay5Db3JlBQI1BBIEEC6ohoXw0gpNg3eFuWHWE8sMEgQQDhsKeO8Gt0atr8j6d7hd6BUNBCUUNRg9HFUgZSQSUEFsdHVhLk9hay5Db3JlLkRvY3VtZW50TW9kZWwuVGVtcGxhdGluZy5DdXN0b21Qb3NpdGlvbkRlZmluaXRpb24sIEFsdHVhLk9hay5Db3JlDQQkBCIBBNRMEAJ1eIVAn9nw/lkZd0BsQisp1IFtQIBeCILwyDlAFBMVKB0sNTA4AEU1DlU8XUBkAgVEGAQEAgVIHAIFTCALBVAMBW5iLU5PFVQkEAEBCQERARkBIQEpATEBOQAoFgQSBBAAAAAAAAAAAAAAAAAAAAAACAEsFgQSBBAAAAAAAAAAAAAAAAAAAAAACAEwADpHQWx0dWEuT2FrLkNvcmUuQ2hhcnQuQ2x1c3RlcmVkQmFyV2l0aExpbmVQbG90RGVmaW5pdGlvbiwgQWx0dWEuT2FrLkNvcmU1DjUEEgQQ5rzs9Hr/ZkiOdxjF1Y2AWR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Ap+pkgdKQXQaHCctluTAyKFYQCHBIEEBF5bi6YHOlPpT4SGa3b+1UkAC2IAjWNAkSMAUgEEgQQOa6hS2PnK1Gv94eZJj3pqAwSBBAp+pkgdKQXQaHCctluTAyKFZQCHBIEEOjcGhWyCfxHkHpCy/xxYFskAC2YAjWNAkSQAUIBABgDJZwCKQAxAEAASAJVoAJdpAJkEgQQKfqZIHSkF0GhwnLZbkwMim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fb4988fb770f4052801679aff56e6dac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RENDERHASH" val="0fbf65cebd4f2d2bf095538ceaea91b6-svg"/>
  <p:tag name="GRUNT-X-SHAPEBOUNDS" val="ASIBBAAAAKACoEFAAAAAIHyse0AAAABAmaZaQAAAAODCVzRAAA=="/>
  <p:tag name="GRUNT-X-PAGEOBJECT" val="AQUCswIKPkFsdHVhLk9hay5Db3JlLkRvY3VtZW50TW9kZWwuQ2hhcnRMZWdlbmRPYmplY3QsIEFsdHVhLk9hay5Db3JlBQI5BBIEEKLo2ZEQxzBBjX1nmJz/7HsUEgQQu7cG1mc2T0am5InURLJs1C0MNRBEAgUUSABVGQdlIG0kDAQEAgUoEAIFLBQCAQAeUEFsdHVhLk9hay5Db3JlLkRvY3VtZW50TW9kZWwuVGVtcGxhdGluZy5DdXN0b21Qb3NpdGlvbkRlZmluaXRpb24sIEFsdHVhLk9hay5Db3JlGQckBCIBBAAAAKACoEFAAAAAInyse0AoEkw0maZaQKCVT+vCVzRAIAsFMAwFbmItTk8VNCQEAQEJASgCAQAsADAKBAEsDAEgFAJrcjQJBAVuYi1OTwgB"/>
  <p:tag name="GRUNT-SYNC" val="75edf4a4d0b24a3cbaebf564b0aa2ed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RENDERHASH" val="d188c48834545aff5df618479e6b9800-svg"/>
  <p:tag name="GRUNT-X-SHAPEBOUNDS" val="ASIBBAAAAGBKsnZAAAAAIHyse0AAAABgfMVcQAAAAODCVzRAAA=="/>
  <p:tag name="GRUNT-X-PAGEOBJECT" val="AQUCswIKPkFsdHVhLk9hay5Db3JlLkRvY3VtZW50TW9kZWwuQ2hhcnRMZWdlbmRPYmplY3QsIEFsdHVhLk9hay5Db3JlBQI5BBIEEFIpU6kIEgdCnYM+CHYkZJQUEgQQ5rzs9Hr/ZkiOdxjF1Y2AWS0MNRBEAgUUSABVGQdlIG0kDAQEAgUoEAIFLBQCAQAeUEFsdHVhLk9hay5Db3JlLkRvY3VtZW50TW9kZWwuVGVtcGxhdGluZy5DdXN0b21Qb3NpdGlvbkRlZmluaXRpb24sIEFsdHVhLk9hay5Db3JlGQckBCIBBMWZGlFKsnZAAAAAInyse0DgZ5BlfMVcQKCVT+vCVzRAIAsFMAwFbmItTk8VNCQEAQEJASgCAQAsADAKBAEsDAEgFAJrcjQJBAVuYi1OTwgB"/>
  <p:tag name="GRUNT-SYNC" val="85527057e0fd4575a7ca5468b405c08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RENDERHASH" val="3f4ec364be348b83aa94ff7f831ead1b-svg"/>
  <p:tag name="GRUNT-X-SHAPEBOUNDS" val="ASIBBAAAAAB1eIVAAAAAIHyse0AAAABgfMVcQAAAAODCVzRAAA=="/>
  <p:tag name="GRUNT-X-PAGEOBJECT" val="AQUCswIKPkFsdHVhLk9hay5Db3JlLkRvY3VtZW50TW9kZWwuQ2hhcnRMZWdlbmRPYmplY3QsIEFsdHVhLk9hay5Db3JlBQI5BBIEEJ1yMKqjQq9IiRXYka1aCP4UEgQQ5rzs9Hr/ZkiOdxjF1Y2AWS0MNRBEAgUUSABVGQdlIG0kDAQEAgUoEAIFLBQCAQAeUEFsdHVhLk9hay5Db3JlLkRvY3VtZW50TW9kZWwuVGVtcGxhdGluZy5DdXN0b21Qb3NpdGlvbkRlZmluaXRpb24sIEFsdHVhLk9hay5Db3JlGQckBCIBBNRMEAJ1eIVAAAAAInyse0DgZ5BlfMVcQKCVT+vCVzRAIAsFMAwFbmItTk8VNCQEAQEJASgCAQAsADAKBAEsDAEgFAJrcjQJBAVuYi1OTwgB"/>
  <p:tag name="GRUNT-SYNC" val="e40dd08cacff43d08384199b08ff7a4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f80dd60b-662a-49a0-8dcb-2668801cdf9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SHAPEBOUNDS" val="ASIBBAAAACDF1T5AAAAAgNtGc0AAAACgLNBxQAAAAODY01pAAA=="/>
  <p:tag name="GRUNT-X-PAGEOBJECT" val="AQUC+C8KOEFsdHVhLk9hay5Db3JlLkRvY3VtZW50TW9kZWwuQ2hhcnRPYmplY3QsIEFsdHVhLk9hay5Db3JlBQI1BBIEEHsLmCjeizJMnQaXFUtW+0gMEgQQ9P9/nRYtIEWjpACr0lA18xUNBCUUNRg9HFUgZSQSUEFsdHVhLk9hay5Db3JlLkRvY3VtZW50TW9kZWwuVGVtcGxhdGluZy5DdXN0b21Qb3NpdGlvbkRlZmluaXRpb24sIEFsdHVhLk9hay5Db3JlDQQkBCIBBAAAACDFFT9AeCsp40FNdEC7V4KoLMhxQFix/bulIFJAFBMVKB0sNTA4AEU1DlU8XUBkAgVEGAQEAgVIHAIFTCALBVAMBW5iLU5PFVQkEAEBCQERARkBIQEpATEBOQAoFgQSBBAAAAAAAAAAAAAAAAAAAAAACAEsFgQSBBAAAAAAAAAAAAAAAAAAAAAACAEwADpHQWx0dWEuT2FrLkNvcmUuQ2hhcnQuQ2x1c3RlcmVkQmFyV2l0aExpbmVQbG90RGVmaW5pdGlvbiwgQWx0dWEuT2FrLkNvcmU1DjUEEgQQWHvVQlkwNk2oTDTcPUo9x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W9AH4AfwBgAKEAogCjAKQApQCmAKcAogBSQQSBBA5rqFLY+crUa/3h5kmPemoDBIEEFL1YN8pIW9OgXH+c0dwKWwVoAIcEgQQ6NwaFbIJ/EeQekLL/HFgWyQBAS2kAjWpAkuMAUkEEgQQ3hL/oLfjmVGNga5GutPNVQwSBBBS9WDfKSFvToFx/nNHcClsFbACHBIEEPksWf79329Fuf5n0yPSqyMkAQEttAI1qQJLkAFCAQAYAyW4AikAMQBAAEgCVbwCXcACZBIEEFL1YN8pIW9OgXH+c0dwKWxtxAJ1yAKNAcwCkQEBnQHQAqUB1AK1AdgClAECAQCYAQUEAwXcApwBBQQDBeACoAEFBAMF5AKkAQUEAwXoAqgBBQQDBdwCrAEFBAMF3AKwAQUEAwXsArQBBQQDBfACuAEFBAMF9AK8AQUEAwX4AsABBQQDBfwCxAEFBAMFgAPIAQUEAwWEA8wBBQQDBYgD0AEFBAMFjAPUAQUEAwWQA9gBBQQDBZQD3AEFBAMFmAPgAQUEAwWcA+QBBQQDBaAD6AECAQDsAQYFpQNqCATwAQYFrQNqCAT0ASsEEgQQtnl8ctBB8lCqeXW5srpkmwwSBBAf64w4piHLS4kyF0IE31g0HAEB+AErBBIEEK3xkaMagnVfuHWmb/AH5o0MEgQQdZ6YkVxDK0eAjaDLHe+U4xwBAfwBKwQSBBAUgTfa/GNkVrpdQgis1b/wDBIEEDN2LlbKrM9DuJ/41/dD8iIcAQGAAisEEgQQd2MwujbKQFSz3yjnTKcylwwSBBBZn2HmWJE/SIQqnrz3HmVGHAEBhAIrBBIEED1DZfZn2ddWnpP2n9ATgkIMEgQQ5PInsc7xekOZNXqmuIfDUhwBAYgCKwQSBBCD+4py9nD8QKBTKFF6ohauDBIEEJvzN8z2MBhPpn+BGWPNv6ocAQGMAisEEgQQUp3Hd2NQf0aKrpw65Q0tWAwSBBC/BNzlG01aS63JT5V8CUTVHAEBkAIrBBIEEJcFcGzx2fpNmxxZeq8thPUMEgQQHQWFMRz7TkSitZTvRM8LzhwBAZQCKwQSBBBrSd+3cy9oT6p3sNZBUA3rDBIEEPvRt2941KNPtNbA4wnNe0kcAQGYAisEEgQQ4ikfsnaK4EuJU/fmpsixuQwSBBDoAmmIksVpR4Wcmdp5Uj9+HAEBnAIrBBIEEEAq3kmQwJxKnB8PlG7IsdMMEgQQ2l47+0cTPky0l42NcMy3CBwBAaACBQWwAwgBpAIEBQAIAa4CPkFsdHVhLk9hay5Db3JlLkNoYXJ0LkRlZmF1bHRQbG90U2VyaWVzU2V0dGluZ3MsIEFsdHVhLk9hay5Db3JlqQJLALACBQW0AwgBtAIEBQAIAbgCCwMAAAAAAAAAAAgCvAILAwAAAAAAAAAACAHAAgsDAAAAAAAAAAAIAcQCFQW4Aw28AxXAAx3EAyXIAy3MAzXQA8gCBw3UAxXZA2rMAgsDAAAAAAAAAAAIBNACBgXdA2oIBNQCBgXdA2oIBNgCBQQDBeAD3AICAQDgAg4BBuQD6APsA/AD9AP4A+QCBAEB/APoAgIBAOwCAgEA8AICAQD0AhABB4AEhASIBIwEkASUBJgE+AICAQD8Ag4BBpwEoASkBKgErASwBIADEAEHtAS4BLwEwATEBMgEzASEAwIBAIgDBAEB0ASMAwoBBNQE2ATcBOAEkAMCAQCUAwIBAJgDAgEAnAMCAQCgAwIBAKoDM0FsdHVhLk9hay5Db3JlLlRoZW1pbmcuQ29sb3JQb2ludGVyLCBBbHR1YS5PYWsuQ29yZaUDalBQUP+tA2pQUFD/sAMFBAMF5AS0AwUEAwXoBLgDBwQDBAEACAS8AwUEAS4IBMADBAABCATEAwQAAAgEyAMEBAAIBMwDBAQACATQAwQAAAgE1AMFBAMF7ATZA2o+PuX/3QNqUFBQ/+ADAgEA5AMOBfEEnQELAAAAAAAAAADoAw4F+QSfAQsAAAAAAAAAAOwDDgWBBaEBCwAAAAAAAOA/8AMOBYkFowELAAAAAAAA4D/0Aw4FkQWlAQsAAAAAAADgP/gDDgWZBacBCwAAAAAAAPg//AMIBaEFpQENpAWABAoFqQWrAQ2xBa0BhAQKBbkFnQENvQWwAYgECgXFBaEBDckFsAGMBAoFzQWjAQ3RBbABkAQJBdUFtgEN3QVqlAQKBeEFuQEN6QWwAZgECgXtBbkBDfEFsAGcBAcF9QW+AQkBoAQHBf0FwAEJAKQEBwWFBr4BCQGoBAcFiQbDAQkBrAQHBZEGxQEJAbAEBwWZBscBCQG0BAoFoQbJAQ2pBssBuAQKBbEGzQENuQbPAbwECgXBBtEBDckG0wHABAoF0QbRAQ3JBtMBxAQKBdUGwAEN2QbXAcgECgXhBsUBDdkG1wHMBAoF5QbHAQ3pBtsB0AQKBfEG3QEN+QbfAdQECgWBB8ABDYUH4gHYBAoFjQfNAQ2RB+IB3AQKBZUHxQENmQfiAeAECgWdB8kBDaEH4gHkBAYBAaUH6gHoBAYBAa0H6gHsBAQBAgEE9gRTQWx0dWEuT2FrLkNvcmUuTW9kaWZpY2F0aW9uLlN0eWxpbmcuQWxsVmFsdWVBeGlzQ3VzdG9taXphdGlvblRhcmdldCwgQWx0dWEuT2FrLkNvcmXxBJ0BAP4EWUFsdHVhLk9hay5Db3JlLk1vZGlmaWNhdGlvbi5TdHlsaW5nLlZhbHVlQXhpc0dyaWRsaW5lc0N1c3RvbWl6YXRpb25UYXJnZXQsIEFsdHVhLk9hay5Db3Jl+QSfAQCGBVNBbHR1YS5PYWsuQ29yZS5Nb2RpZmljYXRpb24uU3R5bGluZy5DYXRlZ29yeUF4aXNDdXN0b21pemF0aW9uVGFyZ2V0LCBBbHR1YS5PYWsuQ29yZYEFoQEAjgVQQWx0dWEuT2FrLkNvcmUuTW9kaWZpY2F0aW9uLlN0eWxpbmcuT3JpZ29MaW5lQ3VzdG9taXphdGlvblRhcmdldCwgQWx0dWEuT2FrLkNvcmWJBaMBAJYFXUFsdHVhLk9hay5Db3JlLk1vZGlmaWNhdGlvbi5TdHlsaW5nLkFsbENvbm5lY3RvcnNBdXhpbGlhcnlDdXN0b21pemF0aW9uVGFyZ2V0LCBBbHR1YS5PYWsuQ29yZZEFpQEAngVZQWx0dWEuT2FrLkNvcmUuTW9kaWZpY2F0aW9uLlN0eWxpbmcuU2VyaWVzV2l0aFBsb3RLaW5kQ3VzdG9taXphdGlvblRhcmdldCwgQWx0dWEuT2FrLkNvcmWZBacBAwWwB6EFpQEApAUFDAMFtAeuBVZBbHR1YS5PYWsuQ29yZS5Nb2RpZmljYXRpb24uU3R5bGluZy5BbGxTZXJpZXNNYXJrZXJDdXN0b21pemF0aW9uVGFyZ2V0LCBBbHR1YS5PYWsuQ29yZakFqwEAtgU6QWx0dWEuT2FrLkNvcmUuVGhlbWluZy5CaW5kaW5nQ29sb3JQb2ludGVyLCBBbHR1YS5PYWsuQ29yZbEFrQEFBbkH7wG5BZ0BAMIFN0FsdHVhLk9hay5Db3JlLlRoZW1pbmcuUGFnZUNvbG9yUG9pbnRlciwgQWx0dWEuT2FrLkNvcmW9BbABBAAACADFBaEBAMkFsAEEAAAIAM0FowEA0QWwAQQAAAgA2gVTQWx0dWEuT2FrLkNvcmUuTW9kaWZpY2F0aW9uLlN0eWxpbmcuQWxsR3JpZGxpbmVzQ3VzdG9taXphdGlvblRhcmdldCwgQWx0dWEuT2FrLkNvcmXVBbYBAN0FaoCAgP/mBU1BbHR1YS5PYWsuQ29yZS5Nb2RpZmljYXRpb24uU3R5bGluZy5TZXJpZXNDdXN0b21pemF0aW9uVGFyZ2V0LCBBbHR1YS5PYWsuQ29yZeEFuQEUBBIEEN4S/6C345lRjYGuRrrTzVXpBbABBAAJCADtBbkBFAQSBBA5rqFLY+crUa/3h5kmPemo8QWwAQQABQgA+gVYQWx0dWEuT2FrLkNvcmUuTW9kaWZpY2F0aW9uLlN0eWxpbmcuU2VyaWVzTGFiZWxPZlR5cGVDdXN0b21pemF0aW9uVGFyZ2V0LCBBbHR1YS5PYWsuQ29yZfUFvgECAAKCBlhBbHR1YS5PYWsuQ29yZS5Nb2RpZmljYXRpb24uU3R5bGluZy5BbGxWYWx1ZUF4aXNMYWJlbEN1c3RvbWl6YXRpb25UYXJnZXQsIEFsdHVhLk9hay5Db3Jl/QXAAQCFBr4BAgAAjgZVQWx0dWEuT2FrLkNvcmUuTW9kaWZpY2F0aW9uLlN0eWxpbmcuQWxsVG90YWxMYWJlbHNDdXN0b21pemF0aW9uVGFyZ2V0LCBBbHR1YS5PYWsuQ29yZYkGwwEAlgZXQWx0dWEuT2FrLkNvcmUuTW9kaWZpY2F0aW9uLlN0eWxpbmcuQWxsQ2F0ZWdvcnlMYWJlbEN1c3RvbWl6YXRpb25UYXJnZXQsIEFsdHVhLk9hay5Db3JlkQbFAQCeBlhBbHR1YS5PYWsuQ29yZS5Nb2RpZmljYXRpb24uU3R5bGluZy5BbGxBdXhpbGlhcnlMYWJlbEN1c3RvbWl6YXRpb25UYXJnZXQsIEFsdHVhLk9hay5Db3JlmQbHAQCmBlhBbHR1YS5PYWsuQ29yZS5Nb2RpZmljYXRpb24uU3R5bGluZy5DYXRlZ29yeUF4aXNUaXRsZUN1c3RvbWl6YXRpb25UYXJnZXQsIEFsdHVhLk9hay5Db3JloQbJAQCuBkZBbHR1YS5PYWsuQ29yZS5QbG90dGluZy5BeGlzVGl0bGVMYWJlbFBsYWNlbWVudE91dHNpZGUsIEFsdHVhLk9hay5Db3JlqQbLAQIAAbYGXUFsdHVhLk9hay5Db3JlLk1vZGlmaWNhdGlvbi5TdHlsaW5nLkFsbFZhbHVlQXhpc1RpdGxlTGFiZWxDdXN0b21pemF0aW9uVGFyZ2V0LCBBbHR1YS5PYWsuQ29yZbEGzQEAvgZCQWx0dWEuT2FrLkNvcmUuUGxvdHRpbmcuQXhpc1RpdGxlTGFiZWxQbGFjZW1lbnRGYXIsIEFsdHVhLk9hay5Db3JluQbPAQIAAMYGX0FsdHVhLk9hay5Db3JlLk1vZGlmaWNhdGlvbi5TdHlsaW5nLlNlcmllc0xhYmVsc1dpdGhQbG90S2luZEN1c3RvbWl6YXRpb25UYXJnZXQsIEFsdHVhLk9hay5Db3JlwQbRAQUFwAcIAM4GPUFsdHVhLk9hay5Db3JlLlBsb3R0aW5nLkxhYmVsUGxhY2VtZW50T3V0c2lkZSwgQWx0dWEuT2FrLkNvcmXJBtMBANEG0QEFBcQHCADVBsABAN4GQUFsdHVhLk9hay5Db3JlLlBsb3R0aW5nLkF4aXNMYWJlbFBsYWNlbWVudE91dHNpZGUsIEFsdHVhLk9hay5Db3Jl2QbXAQIBAOEGxQEA5QbHAQDuBkZBbHR1YS5PYWsuQ29yZS5QbG90dGluZy5BdXhpbGlhcnlMYWJlbFBsYWNlbWVudERlZmF1bHQsIEFsdHVhLk9hay5Db3Jl6QbbAQD2BlBBbHR1YS5PYWsuQ29yZS5Nb2RpZmljYXRpb24uU3R5bGluZy5BbGxMYWJlbHNDdXN0b21pemF0aW9uVGFyZ2V0LCBBbHR1YS5PYWsuQ29yZfEG3QEA/gZCQWx0dWEuT2FrLkNvcmUuU3ludGF4U3RydWN0dXJlLkFjdHVhbEZvbnRTaXplVmFsdWUsIEFsdHVhLk9hay5Db3Jl+QbfAQkDAAAAAAAAKECBB8ABAIoHQ0FsdHVhLk9hay5Db3JlLlN5bnRheFN0cnVjdHVyZS5BY3R1YWxGb250Q29sb3JWYWx1ZSwgQWx0dWEuT2FrLkNvcmWFB+IBBQXJB7ABjQfNAQCRB+IBBQXNB7ABlQfFAQCZB+IBBQXRB7ABnQfJAQChB+IBBQXVB7ABqgcvQWx0dWEuRGF0YS5JbmZyYXN0cnVjdHVyZS5QYXJhZ3JhcGgsIEFsdHVhLkRhdGGlB+oBBQwDBdgHrQfqAQUMAwXcB7AHAQW0BwoBAgAAgEAAAEBAvgdIQWx0dWEuT2FrLkNvcmUuU3ludGF4U3RydWN0dXJlLlBsb3RTZXJpZXNCaW5kaW5nU3RyYXRlZ3ksIEFsdHVhLk9hay5Db3JluQfvAQDABwIJCsQHAQXJB7ABBAAACADNB7ABBAAACADRB7ABBAAACADVB7ABBAAACADYBwYBAeEH+QHcBwYBAekH+wHmBy9BbHR1YS5EYXRhLkluZnJhc3RydWN0dXJlLk51bWJlclJ1biwgQWx0dWEuRGF0YeEH+QETBA4DAAAAAACgn0Ad8Qf9AQ34B+4HLUFsdHVhLkRhdGEuSW5mcmFzdHJ1Y3R1cmUuVGV4dFJ1biwgQWx0dWEuRGF0YekH+wEKBAVOb3JnZQ38B/YHPUFsdHVhLkRhdGEuTnVtYmVyRm9ybWF0dGluZy5Db21wb3NpdGVOdW1iZXJGb3JtYXQsIEFsdHVhLkRhdGHxB/0BCx2ACCWECDWICD0A+AcSBAAcACQALAA0ADwATABUAF0A/AcSBAAcACQALAA0ADwATABUAF0AgAgJAAAMAwWMCBEAhAgJAAAMAwWQCBEAiAgKBAEsDAEuFAJrcowIBgEBlQiGApAICgECnQiIApUIhgKaCEBBbHR1YS5EYXRhLk51bWJlckZvcm1hdHRpbmcuTnVtYmVyRm9ybWF0VmFsdWVTZWdtZW50LCBBbHR1YS5EYXRhlQiGAgUEAwWkCKIIP0FsdHVhLkRhdGEuTnVtYmVyRm9ybWF0dGluZy5OdW1iZXJGb3JtYXRUZXh0U2VnbWVudCwgQWx0dWEuRGF0YZ0IiAIFBAEtCQGkCAYBAakIiwKuCDlBbHR1YS5EYXRhLk51bWJlckZvcm1hdHRpbmcuTnVtYmVyUGxhY2Vob2xkZXIsIEFsdHVhLkRhdGGpCIsCBQIwAAAA"/>
  <p:tag name="GRUNT-RENDERHASH" val="9e752093049d33c70b0ac42a08237867-svg"/>
  <p:tag name="GRUNT-X-DATASERVICE" val="AQUCxQoKN0FsdHVhLkRhdGEuRGF0YVNlcnZpY2VzLkVtYmVkZGVkRGF0YVNlcnZpY2UsIEFsdHVhLkRhdGEFAhkEEgQQ9P9/nRYtIEWjpACr0lA18w0MJREFDAYFGAgSEAcWQUFsdHVhLkRhdGEuRGF0YVNlcnZpY2VzLkVtYmVkZGVkRGF0YVNlcnZpY2VFZGl0b3JEYXRhLCBBbHR1YS5EYXRhEQUEBRwNIBgGBSQNKBUsHDwdBBIEENNz8cQb9wFOoDLwDWItJDkLAAAAAAAAHEAdBBIEEB/rjDimIctLiTIXQgTfWDQLAAAAAAAgYkAgWh0EEgQQBbe507cO9EmRZBhNRm5FrAsAAAAAAAAyQB0EEgQQhB+R4huFNUGwuFZrPUlJDwsAAAAAAAAyQB0EEgQQ+SxZ/v3fb0W5/mfTI9KrIwsAAAAAAAAyQCQCMDQoAjg8LLQBLAQoBBIEENqNKxB7T5pMmUYr804v+BwMEgQQX5eQl8Rau0KbEDAGcU7FWQ1ALAQoBBIEEHWemJFcQytHgI2gyx3vlOMMEgQQX5eQl8Rau0KbEDAGcU7FWQ1ELAQoBBIEENqNKxB7T5pMmUYr804v+BwMEgQQ6NwaFbIJ/EeQekLL/HFgWw1ILAQoBBIEEHWemJFcQytHgI2gyx3vlOMMEgQQ6NwaFbIJ/EeQekLL/HFgWw1MMBoEEgQQ2o0rEHtPmkyZRivzTi/4HAwCQzEZATQaBBIEEHWemJFcQytHgI2gyx3vlOMMAkMzGQE4GgQSBBBfl5CXxFq7QpsQMAZxTsVZDAJSMRkBPBoEEgQQ6NwaFbIJ/EeQekLL/HFgWwwCUjIZAUAEDVAVVEQEDVAVWEgEDVAVXEwEDVAVYFACBABUBAQCBWRYBAQCBWhcBAQCBWxgBAQCBXBkAgEAaAQBAXUebAIBAHAEAQF9HnovQWx0dWEuRGF0YS5JbmZyYXN0cnVjdHVyZS5QYXJhZ3JhcGgsIEFsdHVhLkRhdGF1HgUMAwWAAX0eBQwDBYQBgAEFAQGJASOEAQUBAZEBJY4BLUFsdHVhLkRhdGEuSW5mcmFzdHJ1Y3R1cmUuVGV4dFJ1biwgQWx0dWEuRGF0YYkBIyMEHlRyw7huZGVsYWcgb2cgTcO4cmUgb2cgUm9tc2RhbA2YAZYBL0FsdHVhLkRhdGEuSW5mcmFzdHJ1Y3R1cmUuTnVtYmVyUnVuLCBBbHR1YS5EYXRhkQElEgQNAwAAAAAAADVAHZ0BKA2kAZgBEgQAHAAkACwANAA8AEwAVABdAKIBPUFsdHVhLkRhdGEuTnVtYmVyRm9ybWF0dGluZy5Db21wb3NpdGVOdW1iZXJGb3JtYXQsIEFsdHVhLkRhdGGdASgLHagBJawBNbABPQCkARIEABwAJAAsADQAPABMAFQAXQCoAQkAAAwDBbQBEQCsAQkAAAwDBbgBEQCwAQoEASwMAS4UAmtytAEFAQG9ATC4AQgBAsUBMr0BMMIBQEFsdHVhLkRhdGEuTnVtYmVyRm9ybWF0dGluZy5OdW1iZXJGb3JtYXRWYWx1ZVNlZ21lbnQsIEFsdHVhLkRhdGG9ATAFBAMFzAHKAT9BbHR1YS5EYXRhLk51bWJlckZvcm1hdHRpbmcuTnVtYmVyRm9ybWF0VGV4dFNlZ21lbnQsIEFsdHVhLkRhdGHFATIFBAEtCQHMAQUBAdEBNdYBOUFsdHVhLkRhdGEuTnVtYmVyRm9ybWF0dGluZy5OdW1iZXJQbGFjZWhvbGRlciwgQWx0dWEuRGF0YdEBNQUCMAAAAA=="/>
  <p:tag name="GRUNT-SYNC" val="d9ed5759688448bbb2cab2f2f93e96d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oRUKN0FsdHVhLkRhdGEuRGF0YVNlcnZpY2VzLkVtYmVkZGVkRGF0YVNlcnZpY2UsIEFsdHVhLkRhdGEFAhkEEgQQSIv85pAyfUuFEFxL0S64aA0MJREFDAYFGAgUEAoWQUFsdHVhLkRhdGEuRGF0YVNlcnZpY2VzLkVtYmVkZGVkRGF0YVNlcnZpY2VFZGl0b3JEYXRhLCBBbHR1YS5EYXRhEQUEBRwNIBgGBSQNKBUsHDwdBBIEENNz8cQb9wFOoDLwDWItJDkLAAAAAAAAHEAdBBIEEB/rjDimIctLiTIXQgTfWDQLAAAAAAAgYkAglgEdBBIEEAW3udO3DvRJkWQYTUZuRawLAAAAAAAAMkAdBBIEEBF5bi6YHOlPpT4SGa3b+1ULAAAAAAAAMkAdBBIEEIQfkeIbhTVBsLhWaz1JSQ8LAAAAAAAAMkAdBBIEEPksWf79329Fuf5n0yPSqyMLAAAAAAAAMkAdBBIEEKTBruNnE2hCqBmPMX5a7skLAAAAAAAAMkAkBTA0ODxAKAJESCzCAywEKAQSBBDajSsQe0+aTJlGK/NOL/gcDBIEEF+XkJfEWrtCmxAwBnFOxVkNTCwEKAQSBBB1npiRXEMrR4CNoMsd75TjDBIEEF+XkJfEWrtCmxAwBnFOxVkNUCwEKAQSBBAf64w4piHLS4kyF0IE31g0DBIEEOjcGhWyCfxHkHpCy/xxYFsNVCwEKAQSBBDiZ4LqncAVT7eeYK508WqGDBIEEF+XkJfEWrtCmxAwBnFOxVkNWCwEKAQSBBAf64w4piHLS4kyF0IE31g0DBIEEF+XkJfEWrtCmxAwBnFOxVkNXCwEKAQSBBD3DW6nGDeySJvO+xOVXgd1DBIEEF+XkJfEWrtCmxAwBnFOxVkNYCwEKAQSBBD3DW6nGDeySJvO+xOVXgd1DBIEEOjcGhWyCfxHkHpCy/xxYFsNZCwEKAQSBBDiZ4LqncAVT7eeYK508WqGDBIEEOjcGhWyCfxHkHpCy/xxYFsNaCwEKAQSBBDajSsQe0+aTJlGK/NOL/gcDBIEEOjcGhWyCfxHkHpCy/xxYFsNbCwEKAQSBBB1npiRXEMrR4CNoMsd75TjDBIEEOjcGhWyCfxHkHpCy/xxYFsNcDAaBBIEENqNKxB7T5pMmUYr804v+BwMAkMxGQE0GgQSBBAf64w4piHLS4kyF0IE31g0DAJDMhkBOBoEEgQQdZ6YkVxDK0eAjaDLHe+U4wwCQzMZATwbBBIEEPcNbqcYN7JIm877E5VeB3UMA0MxOBkBQBsEEgQQ4meC6p3AFU+3nmCudPFqhgwDQzE5GQFEGgQSBBBfl5CXxFq7QpsQMAZxTsVZDAJSMRkBSBoEEgQQ6NwaFbIJ/EeQekLL/HFgWwwCUjIZAUwEDXQVeFAEDXQVfFQFDXQVgAFYBg2EARWIAVwFDXQVjAFgBg2EARWQAWQGDYQBFZQBaAYNhAEVmAFsBQ10FZwBcAUNdBWgAXQCBAB4BQQDBaQBfAUEAwWoAYABBQQDBawBhAECBACIAQUEAwWwAYwBBQQDBbQBkAEFBAMFuAGUAQUEAwW8AZgBBQQDBcABnAEFBAMFxAGgAQUEAwXIAaQBAgEAqAEFAQHNATSsAQUBAdUBNLABBQEB2QE0tAEFAQHdATS4AQUBAeEBNLwBBQEB5QE0wAEFAQHpATTEAQUBAe0BNMgBBQEB8QE00gEvQWx0dWEuRGF0YS5JbmZyYXN0cnVjdHVyZS5QYXJhZ3JhcGgsIEFsdHVhLkRhdGHNATQFDAMF9AHVATQFDAMF+AHZATQFDAMF/AHdATQFDAMFgALhATQFDAMFhALlATQFDAMFiALpATQFDAMFjALtATQFDAMFkALxATQFDAMFlAL0AQUBAZkCR/gBBQEBoQJJ/AEFAQGpAkeAAgUBAa0CR4QCBQEBsQJHiAIFAQG1AkmMAgUBAbkCSZACBQEBvQJJlAIFAQHBAkmeAi1BbHR1YS5EYXRhLkluZnJhc3RydWN0dXJlLlRleHRSdW4sIEFsdHVhLkRhdGGZAkcUBA9UcsO4bmRlbGFnIFPDuHINxAKmAi9BbHR1YS5EYXRhLkluZnJhc3RydWN0dXJlLk51bWJlclJ1biwgQWx0dWEuRGF0YaECSRIEDQMAAAAAAAAsQB3JAlMN0AKpAkcKBAVOb3JnZQ3UAq0CRxQED1Ryw7huZGVsYWcgTm9yZA3YArECRxUEEE3DuHJlIG9nIFJvbXNkYWwNxAK1AkkSBA0DAAAAAAAANUAd3QJTDeACuQJJEgQNAwAAAAAAAC5AHeUCUw3oAr0CSRIEDQMAAAAAAKCfQB3tAlMN8ALBAkkSBA0DAAAAAAAAOkAd9QJTDfgCxAISBAAcACQALAA0ADwATABUAF0AzgI9QWx0dWEuRGF0YS5OdW1iZXJGb3JtYXR0aW5nLkNvbXBvc2l0ZU51bWJlckZvcm1hdCwgQWx0dWEuRGF0YckCUwsd/AIlgAM1hAM9ANACEgQAHAAkACwANAA8AEwAVABdANQCEgQAHAAkACwANAA8AEwAVABdANgCEgQAHAAkACwANAA8AEwAVABdAN0CUwsdiAMljAM1kAM9AOACEgQAHAAkACwANAA8AEwAVABdAOUCUwsdlAMlmAM1nAM9AOgCEgQAHAAkACwANAA8AEwAVABdAO0CUwsdoAMlpAM1qAM9APACEgQAHAAkACwANAA8AEwAVABdAPUCUwsdrAMlsAM1tAM9APgCEgQAHAAkACwANAA8AEwAVABdAPwCCQAADAMFuAMRAIADCQAADAMFvAMRAIQDCgQBLAwBLhQCa3KIAwkAAAwDBcADEQCMAwkAAAwDBcQDEQCQAwoEASwMAS4UAmtylAMJAAAMAwXIAxEAmAMJAAAMAwXMAxEAnAMKBAEsDAEuFAJrcqADCQAADAMF0AMRAKQDCQAADAMF1AMRAKgDCgQBLAwBLhQCa3KsAwkAAAwDBdgDEQCwAwkAAAwDBdwDEQC0AwoEASwMAS4UAmtyuAMFAQHhA3m8AwgBAukDe+EDecADBQEB8QN5xAMIAQL1A3vxA3nIAwUBAfkDecwDCAEC/QN7+QN50AMFAQGBBHnUAwgBAoUEe4EEedgDBQEBiQR53AMIAQKNBHuJBHnmA0BBbHR1YS5EYXRhLk51bWJlckZvcm1hdHRpbmcuTnVtYmVyRm9ybWF0VmFsdWVTZWdtZW50LCBBbHR1YS5EYXRh4QN5BQQDBZAE7gM/QWx0dWEuRGF0YS5OdW1iZXJGb3JtYXR0aW5nLk51bWJlckZvcm1hdFRleHRTZWdtZW50LCBBbHR1YS5EYXRh6QN7BQQBLQkB8QN5BQQDBZQE9QN7BQQBLQkB+QN5BQQDBZgE/QN7BQQBLQkBgQR5BQQDBZwEhQR7BQQBLQkBiQR5BQQDBaAEjQR7BQQBLQkBkAQGAQGlBIoBlAQGAQGlBIoBmAQGAQGlBIoBnAQGAQGtBIoBoAQGAQGlBIoBqgQ5QWx0dWEuRGF0YS5OdW1iZXJGb3JtYXR0aW5nLk51bWJlclBsYWNlaG9sZGVyLCBBbHR1YS5EYXRhpQSKAQUCMAAAAK0EigEFAjAAAAA="/>
  <p:tag name="GRUNT-X-SHAPEBOUNDS" val="ASIBBAAAAECma3ZAAAAAYH+CckAAAAAANMVxQAAAAKBlC2BAAA=="/>
  <p:tag name="GRUNT-RENDERHASH" val="c146b185388532b924256af54a68b79a-svg"/>
  <p:tag name="GRUNT-X-PAGEOBJECT" val="AQUChy8KOEFsdHVhLk9hay5Db3JlLkRvY3VtZW50TW9kZWwuQ2hhcnRPYmplY3QsIEFsdHVhLk9hay5Db3JlBQI1BBIEEIXqbFmq+EZOvWpn+RY5lQwMEgQQSIv85pAyfUuFEFxL0S64aBUNBCUUNRg9HFUgZSQSUEFsdHVhLk9hay5Db3JlLkRvY3VtZW50TW9kZWwuVGVtcGxhdGluZy5DdXN0b21Qb3NpdGlvbkRlZmluaXRpb24sIEFsdHVhLk9hay5Db3JlDQQkBCIBBMWZGk+mb3ZAEtO1K0xPc0BHP8/4M71xQFgGRYoxfVZAFBMVKB0sNTA4AEU1DlU8XUBkAgVEGAQEAgVIHAIFTCALBVAMBW5iLU5PFVQkEAEBCQERARkBIQEpATEBOQAoFgQSBBAAAAAAAAAAAAAAAAAAAAAACAEsFgQSBBAAAAAAAAAAAAAAAAAAAAAACAEwADpHQWx0dWEuT2FrLkNvcmUuQ2hhcnQuQ2x1c3RlcmVkQmFyV2l0aExpbmVQbG90RGVmaW5pdGlvbiwgQWx0dWEuT2FrLkNvcmU1DjUEEgQQoKBpf4bnKkqtpR3FnUyhn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D/4toSQKd0TI2qCRYy45j9FYQCHBIEEBF5bi6YHOlPpT4SGa3b+1UkAC2IAjWNAkSMAUgEEgQQOa6hS2PnK1Gv94eZJj3pqAwSBBD/4toSQKd0TI2qCRYy45j9FZQCHBIEEOjcGhWyCfxHkHpCy/xxYFskAC2YAjWNAkSQAUIBABgDJZwCKQAxAEAASAJVoAJdpAJkEgQQ/+LaEkCndEyNqgkWMuOY/W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IBCOQD6APsA/AD9AP4A/wDgATcAgIBAOACDgEGhASIBIwEkASUBJgE5AIQAQecBKAEpASoBKwEsAS0BOgCAgEA7AIEAQG4BPACCgEEvATABMQEyAT0AgIBAPgCAgEA/AICAQCAAwIBAIQDAgEAjgMzQWx0dWEuT2FrLkNvcmUuVGhlbWluZy5Db2xvclBvaW50ZXIsIEFsdHVhLk9hay5Db3JliQNjUFBQ/5EDY1BQUP+UAwUEAwXMBJgDBQQDBdAEnAMHBAMEAQAIBKADBQQBLggEpAMEAAEIBKgDBAAACASsAwQEAAgEsAMEBAAIBLQDBAAACAS4AwUEAwXUBL0DYz4+5f/BA2NQUFD/xAMCAQDIAw4F2QSXAQsAAAAAAAAAAMwDDgXhBJkBCwAAAAAAAAAA0AMOBekEmwELAAAAAAAA4D/UAw4F8QSdAQsAAAAAAADgP9gDDgX5BJ8BCwAAAAAAAOA/3AMOBYEFoQELAAAAAAAA+D/gAwgFiQWfAQ2MBeQDCgWRBaUBDZkFpwHoAwoFoQWXAQ2lBaoB7AMKBa0FmwENsQWqAfADCgW1BZ0BDbkFqgH0AwkFvQWwAQ3FBWP4AwoFyQWzAQ3RBaoB/AMKBdUFswEN2QWqAYAECgXdBbgBDeUFqgGEBAcF6QW7AQkBiAQHBfEFvQEJAIwEBwX5BbsBCQGQBAcF/QXAAQkBlAQHBYUGwgEJAZgEBwWNBsQBCQGcBAoFlQbGAQ2dBsgBoAQKBaUGygENrQbMAaQECgW1Bs4BDb0G0AGoBAoFxQbOAQ29BtABrAQKBckGvQENzQbUAbAECgXVBsIBDc0G1AG0BAoF2QbEAQ3dBtgBuAQKBeUG2gEN7QbcAbwECgX1Br0BDfkG3wHABAoFgQfKAQ2FB98BxAQKBYkHwgENjQffAcgECgWRB8YBDZUH3wHMBAYBAZkH5wHQBAYBAaEH5wHUBAQBAgEE3gRTQWx0dWEuT2FrLkNvcmUuTW9kaWZpY2F0aW9uLlN0eWxpbmcuQWxsVmFsdWVBeGlzQ3VzdG9taXphdGlvblRhcmdldCwgQWx0dWEuT2FrLkNvcmXZBJcBAOYEWUFsdHVhLk9hay5Db3JlLk1vZGlmaWNhdGlvbi5TdHlsaW5nLlZhbHVlQXhpc0dyaWRsaW5lc0N1c3RvbWl6YXRpb25UYXJnZXQsIEFsdHVhLk9hay5Db3Jl4QSZAQDuBFNBbHR1YS5PYWsuQ29yZS5Nb2RpZmljYXRpb24uU3R5bGluZy5DYXRlZ29yeUF4aXNDdXN0b21pemF0aW9uVGFyZ2V0LCBBbHR1YS5PYWsuQ29yZekEmwEA9gRQQWx0dWEuT2FrLkNvcmUuTW9kaWZpY2F0aW9uLlN0eWxpbmcuT3JpZ29MaW5lQ3VzdG9taXphdGlvblRhcmdldCwgQWx0dWEuT2FrLkNvcmXxBJ0BAP4EXUFsdHVhLk9hay5Db3JlLk1vZGlmaWNhdGlvbi5TdHlsaW5nLkFsbENvbm5lY3RvcnNBdXhpbGlhcnlDdXN0b21pemF0aW9uVGFyZ2V0LCBBbHR1YS5PYWsuQ29yZfkEnwEAhgVZQWx0dWEuT2FrLkNvcmUuTW9kaWZpY2F0aW9uLlN0eWxpbmcuU2VyaWVzV2l0aFBsb3RLaW5kQ3VzdG9taXphdGlvblRhcmdldCwgQWx0dWEuT2FrLkNvcmWBBaEBAwWkB4kFnwEAjAUFDAMFqAeWBVZBbHR1YS5PYWsuQ29yZS5Nb2RpZmljYXRpb24uU3R5bGluZy5BbGxTZXJpZXNNYXJrZXJDdXN0b21pemF0aW9uVGFyZ2V0LCBBbHR1YS5PYWsuQ29yZZEFpQEAngU6QWx0dWEuT2FrLkNvcmUuVGhlbWluZy5CaW5kaW5nQ29sb3JQb2ludGVyLCBBbHR1YS5PYWsuQ29yZZkFpwEFBa0H7AGhBZcBAKoFN0FsdHVhLk9hay5Db3JlLlRoZW1pbmcuUGFnZUNvbG9yUG9pbnRlciwgQWx0dWEuT2FrLkNvcmWlBaoBBAAACACtBZsBALEFqgEEAAAIALUFnQEAuQWqAQQAAAgAwgVTQWx0dWEuT2FrLkNvcmUuTW9kaWZpY2F0aW9uLlN0eWxpbmcuQWxsR3JpZGxpbmVzQ3VzdG9taXphdGlvblRhcmdldCwgQWx0dWEuT2FrLkNvcmW9BbABAMUFY4CAgP/OBU1BbHR1YS5PYWsuQ29yZS5Nb2RpZmljYXRpb24uU3R5bGluZy5TZXJpZXNDdXN0b21pemF0aW9uVGFyZ2V0LCBBbHR1YS5PYWsuQ29yZckFswEUBBIEEDmuoUtj5ytRr/eHmSY96ajRBaoBBAAECADVBbMBFAQSBBBJOgyTWzVHSJBsmNvaCMP42QWqAQQABQgA4gVQQWx0dWEuT2FrLkNvcmUuTW9kaWZpY2F0aW9uLlN0eWxpbmcuQ29tcG9zaXRlQ3VzdG9taXphdGlvblRhcmdldCwgQWx0dWEuT2FrLkNvcmXdBbgBBQQDBbQH5QWqAQQABQgA7gVYQWx0dWEuT2FrLkNvcmUuTW9kaWZpY2F0aW9uLlN0eWxpbmcuU2VyaWVzTGFiZWxPZlR5cGVDdXN0b21pemF0aW9uVGFyZ2V0LCBBbHR1YS5PYWsuQ29yZekFuwECAAL2BVhBbHR1YS5PYWsuQ29yZS5Nb2RpZmljYXRpb24uU3R5bGluZy5BbGxWYWx1ZUF4aXNMYWJlbEN1c3RvbWl6YXRpb25UYXJnZXQsIEFsdHVhLk9hay5Db3Jl8QW9AQD5BbsBAgAAggZVQWx0dWEuT2FrLkNvcmUuTW9kaWZpY2F0aW9uLlN0eWxpbmcuQWxsVG90YWxMYWJlbHNDdXN0b21pemF0aW9uVGFyZ2V0LCBBbHR1YS5PYWsuQ29yZf0FwAEAigZXQWx0dWEuT2FrLkNvcmUuTW9kaWZpY2F0aW9uLlN0eWxpbmcuQWxsQ2F0ZWdvcnlMYWJlbEN1c3RvbWl6YXRpb25UYXJnZXQsIEFsdHVhLk9hay5Db3JlhQbCAQCSBlhBbHR1YS5PYWsuQ29yZS5Nb2RpZmljYXRpb24uU3R5bGluZy5BbGxBdXhpbGlhcnlMYWJlbEN1c3RvbWl6YXRpb25UYXJnZXQsIEFsdHVhLk9hay5Db3JljQbEAQCaBlhBbHR1YS5PYWsuQ29yZS5Nb2RpZmljYXRpb24uU3R5bGluZy5DYXRlZ29yeUF4aXNUaXRsZUN1c3RvbWl6YXRpb25UYXJnZXQsIEFsdHVhLk9hay5Db3JllQbGAQCiBkZBbHR1YS5PYWsuQ29yZS5QbG90dGluZy5BeGlzVGl0bGVMYWJlbFBsYWNlbWVudE91dHNpZGUsIEFsdHVhLk9hay5Db3JlnQbIAQIAAaoGXUFsdHVhLk9hay5Db3JlLk1vZGlmaWNhdGlvbi5TdHlsaW5nLkFsbFZhbHVlQXhpc1RpdGxlTGFiZWxDdXN0b21pemF0aW9uVGFyZ2V0LCBBbHR1YS5PYWsuQ29yZaUGygEAsgZCQWx0dWEuT2FrLkNvcmUuUGxvdHRpbmcuQXhpc1RpdGxlTGFiZWxQbGFjZW1lbnRGYXIsIEFsdHVhLk9hay5Db3JlrQbMAQIAALoGX0FsdHVhLk9hay5Db3JlLk1vZGlmaWNhdGlvbi5TdHlsaW5nLlNlcmllc0xhYmVsc1dpdGhQbG90S2luZEN1c3RvbWl6YXRpb25UYXJnZXQsIEFsdHVhLk9hay5Db3JltQbOAQUFuAcIAMIGPUFsdHVhLk9hay5Db3JlLlBsb3R0aW5nLkxhYmVsUGxhY2VtZW50T3V0c2lkZSwgQWx0dWEuT2FrLkNvcmW9BtABAMUGzgEFBbwHCADJBr0BANIGQUFsdHVhLk9hay5Db3JlLlBsb3R0aW5nLkF4aXNMYWJlbFBsYWNlbWVudE91dHNpZGUsIEFsdHVhLk9hay5Db3JlzQbUAQIBANUGwgEA2QbEAQDiBkZBbHR1YS5PYWsuQ29yZS5QbG90dGluZy5BdXhpbGlhcnlMYWJlbFBsYWNlbWVudERlZmF1bHQsIEFsdHVhLk9hay5Db3Jl3QbYAQDqBlBBbHR1YS5PYWsuQ29yZS5Nb2RpZmljYXRpb24uU3R5bGluZy5BbGxMYWJlbHNDdXN0b21pemF0aW9uVGFyZ2V0LCBBbHR1YS5PYWsuQ29yZeUG2gEA8gZCQWx0dWEuT2FrLkNvcmUuU3ludGF4U3RydWN0dXJlLkFjdHVhbEZvbnRTaXplVmFsdWUsIEFsdHVhLk9hay5Db3Jl7QbcAQkDAAAAAAAAIkD1Br0BAP4GQ0FsdHVhLk9hay5Db3JlLlN5bnRheFN0cnVjdHVyZS5BY3R1YWxGb250Q29sb3JWYWx1ZSwgQWx0dWEuT2FrLkNvcmX5Bt8BBQXBB6oBgQfKAQCFB98BBQXFB6oBiQfCAQCNB98BBQXJB6oBkQfGAQCVB98BBQXNB6oBngcvQWx0dWEuRGF0YS5JbmZyYXN0cnVjdHVyZS5QYXJhZ3JhcGgsIEFsdHVhLkRhdGGZB+cBBQwDBdAHoQfnAQUMAwXUB6QHAQWoBwoBAgAAgEAAAEBAsgdIQWx0dWEuT2FrLkNvcmUuU3ludGF4U3RydWN0dXJlLlBsb3RTZXJpZXNCaW5kaW5nU3RyYXRlZ3ksIEFsdHVhLk9hay5Db3JlrQfsAQC0BwYBAdkHswG4BwIJCrwHAQXBB6oBBAAACADFB6oBBAAACADJB6oBBAAACADNB6oBBAAACADQBwYBAd0H+AHUBwYBAeUH+AHZB7MBFAQSBBA5rqFLY+crUa/3h5kmPemo4gcvQWx0dWEuRGF0YS5JbmZyYXN0cnVjdHVyZS5OdW1iZXJSdW4sIEFsdHVhLkRhdGHdB/gBEwQOAwAAAAAAnJ9AHekH+wEN8AflB/gBEwQOAwAAAAAAoJ9AHfUH+wEN+AfuBz1BbHR1YS5EYXRhLk51bWJlckZvcm1hdHRpbmcuQ29tcG9zaXRlTnVtYmVyRm9ybWF0LCBBbHR1YS5EYXRh6Qf7AQsd/AclgAg1hAg9APAHEgQAHAAkACwANAA8AEwAVABdAPUH+wELHYgIJYwINZAIPQD4BxIEABwAJAAsADQAPABMAFQAXQD8BwkAAAwDBZQIEQCACAkAAAwDBZgIEQCECAoEASwMAS4UAmtyiAgJAAAMAwWcCBEAjAgJAAAMAwWgCBEAkAgKBAEsDAEuFAJrcpQIBgEBpQiKApgICgECrQiMAqUIigKcCAYBAbUIigKgCAoBArkIjAK1CIoCqghAQWx0dWEuRGF0YS5OdW1iZXJGb3JtYXR0aW5nLk51bWJlckZvcm1hdFZhbHVlU2VnbWVudCwgQWx0dWEuRGF0YaUIigIFBAMFvAiyCD9BbHR1YS5EYXRhLk51bWJlckZvcm1hdHRpbmcuTnVtYmVyRm9ybWF0VGV4dFNlZ21lbnQsIEFsdHVhLkRhdGGtCIwCBQQBLQkBtQiKAgUEAwXACLkIjAIFBAEtCQG8CAYBAcUIkgLACAYBAc0IkgLKCDlBbHR1YS5EYXRhLk51bWJlckZvcm1hdHRpbmcuTnVtYmVyUGxhY2Vob2xkZXIsIEFsdHVhLkRhdGHFCJICBQIwAAAAzQiSAgUCMAAAAA=="/>
  <p:tag name="GRUNT-SYNC" val="8a6792225b784169b0dbd5c36f40116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yRIKN0FsdHVhLkRhdGEuRGF0YVNlcnZpY2VzLkVtYmVkZGVkRGF0YVNlcnZpY2UsIEFsdHVhLkRhdGEFAhkEEgQQlg6CqlQ4Hk+RVvY00VnL8w0MJREFDAYFGAgUEAoWQUFsdHVhLkRhdGEuRGF0YVNlcnZpY2VzLkVtYmVkZGVkRGF0YVNlcnZpY2VFZGl0b3JEYXRhLCBBbHR1YS5EYXRhEQUEBRwNIBgGBSQNKBUsHFodBBIEENNz8cQb9wFOoDLwDWItJDkLAAAAAAAAHEAdBBIEEB/rjDimIctLiTIXQgTfWDQLAAAAAAAgYkAdBBIEEOJnguqdwBVPt55grnTxaoYLAAAAAACAREAglgEdBBIEEAW3udO3DvRJkWQYTUZuRawLAAAAAAAAMkAdBBIEEBF5bi6YHOlPpT4SGa3b+1ULAAAAAAAAMkAdBBIEEIQfkeIbhTVBsLhWaz1JSQ8LAAAAAAAAMkAdBBIEEPksWf79329Fuf5n0yPSqyMLAAAAAAAAMkAdBBIEEKTBruNnE2hCqBmPMX5a7skLAAAAAAAAMkAkBDA0ODwoAkBELOgCLAQoBBIEENqNKxB7T5pMmUYr804v+BwMEgQQX5eQl8Rau0KbEDAGcU7FWQ1ILAQoBBIEEHWemJFcQytHgI2gyx3vlOMMEgQQX5eQl8Rau0KbEDAGcU7FWQ1MLAQoBBIEEB/rjDimIctLiTIXQgTfWDQMEgQQ6NwaFbIJ/EeQekLL/HFgWw1QLAQoBBIEEB/rjDimIctLiTIXQgTfWDQMEgQQX5eQl8Rau0KbEDAGcU7FWQ1ULAQoBBIEEPcNbqcYN7JIm877E5VeB3UMEgQQX5eQl8Rau0KbEDAGcU7FWQ1YLAQoBBIEEPcNbqcYN7JIm877E5VeB3UMEgQQ6NwaFbIJ/EeQekLL/HFgWw1cLAQoBBIEENqNKxB7T5pMmUYr804v+BwMEgQQ6NwaFbIJ/EeQekLL/HFgWw1gLAQoBBIEEHWemJFcQytHgI2gyx3vlOMMEgQQ6NwaFbIJ/EeQekLL/HFgWw1kMBoEEgQQ2o0rEHtPmkyZRivzTi/4HAwCQzEZATQaBBIEEB/rjDimIctLiTIXQgTfWDQMAkMyGQE4GgQSBBB1npiRXEMrR4CNoMsd75TjDAJDMxkBPBsEEgQQ9w1upxg3skibzvsTlV4HdQwDQzE4GQFAGgQSBBBfl5CXxFq7QpsQMAZxTsVZDAJSMRkBRBoEEgQQ6NwaFbIJ/EeQekLL/HFgWwwCUjIZAUgEDWgVbEwEDWgVcFAEDWgVdFQEDWgVeFgFDXwVgAFcBQ18FYQBYAUNaBWIAWQFDWgVjAFoAgQAbAUEAwWQAXAFBAMFlAF0BQQDBZgBeAUEAwWcAXwCBACAAQUEAwWgAYQBBQQDBaQBiAEFBAMFqAGMAQUEAwWsAZABAgEAlAEFAQGxAS2YAQUBAbkBLZwBBQEBvQEtoAEFAQHBAS2kAQUBAcUBLagBBQEByQEtrAEFAQHNAS22AS9BbHR1YS5EYXRhLkluZnJhc3RydWN0dXJlLlBhcmFncmFwaCwgQWx0dWEuRGF0YbEBLQUMAwXQAbkBLQUMAwXUAb0BLQUMAwXYAcEBLQUMAwXcAcUBLQUMAwXgAckBLQUMAwXkAc0BLQUMAwXoAdABBQEB7QE81AEFAQH1AT7YAQUBAf0BPNwBBQEBgQI84AEFAQGFAj7kAQUBAYkCPugBBQEBjQI+8gEtQWx0dWEuRGF0YS5JbmZyYXN0cnVjdHVyZS5UZXh0UnVuLCBBbHR1YS5EYXRh7QE8EgQNNS4wMDDigJM5Ljk5OQ2QAvoBL0FsdHVhLkRhdGEuSW5mcmFzdHJ1Y3R1cmUuTnVtYmVyUnVuLCBBbHR1YS5EYXRh9QE+EgQNAwAAAAAAADVAHZUCRg2cAv0BPBAEC1VuZGVyIDUuMDAwDaACgQI8FwQSMTAuMDAwIGVsbGVyIGZsZXJlDaQChQI+EgQNAwAAAAAAADpAHakCRg2sAokCPhIEDQMAAAAAAKCfQB2xAkYNtAKNAj4SBA0DAAAAAAAALkAduQJGDbwCkAISBAAcACQALAA0ADwATABUAF0AmgI9QWx0dWEuRGF0YS5OdW1iZXJGb3JtYXR0aW5nLkNvbXBvc2l0ZU51bWJlckZvcm1hdCwgQWx0dWEuRGF0YZUCRgsdwAIlxAI1yAI9AJwCEgQAHAAkACwANAA8AEwAVABdAKACEgQAHAAkACwANAA8AEwAVABdAKQCEgQAHAAkACwANAA8AEwAVABdAKkCRgsdzAIl0AI11AI9AKwCEgQAHAAkACwANAA8AEwAVABdALECRgsd2AIl3AI14AI9ALQCEgQAHAAkACwANAA8AEwAVABdALkCRgsd5AIl6AI17AI9ALwCEgQAHAAkACwANAA8AEwAVABdAMACCQAADAMF8AIRAMQCCQAADAMF9AIRAMgCCgQBLAwBLhQCa3LMAgkAAAwDBfgCEQDQAgkAAAwDBfwCEQDUAgoEASwMAS4UAmty2AIJAAAMAwWAAxEA3AIJAAAMAwWEAxEA4AIKBAEsDAEuFAJrcuQCCQAADAMFiAMRAOgCCQAADAMFjAMRAOwCCgQBLAwBLhQCa3LwAgUBAZEDZfQCCAECmQNnkQNl+AIFAQGhA2X8AggBAqUDZ6EDZYADBQEBqQNlhAMIAQKtA2epA2WIAwUBAbEDZYwDCAECtQNnsQNllgNAQWx0dWEuRGF0YS5OdW1iZXJGb3JtYXR0aW5nLk51bWJlckZvcm1hdFZhbHVlU2VnbWVudCwgQWx0dWEuRGF0YZEDZQUEAwW4A54DP0FsdHVhLkRhdGEuTnVtYmVyRm9ybWF0dGluZy5OdW1iZXJGb3JtYXRUZXh0U2VnbWVudCwgQWx0dWEuRGF0YZkDZwUEAS0JAaEDZQUEAwW8A6UDZwUEAS0JAakDZQUEAwXAA60DZwUEAS0JAbEDZQUEAwXEA7UDZwUEAS0JAbgDBQEByQNzvAMFAQHJA3PAAwUBAdEDc8QDBQEByQNzzgM5QWx0dWEuRGF0YS5OdW1iZXJGb3JtYXR0aW5nLk51bWJlclBsYWNlaG9sZGVyLCBBbHR1YS5EYXRhyQNzBQIwAAAA0QNzBQIwAAAA"/>
  <p:tag name="GRUNT-X-SHAPEBOUNDS" val="ASIBBAAAACANdoVAAAAAYH+CckAAAADgKw5tQAAAAACYY11AAA=="/>
  <p:tag name="GRUNT-RENDERHASH" val="a644e72238ca6a4ca5fb4ce43f344b4f-svg"/>
  <p:tag name="GRUNT-X-PAGEOBJECT" val="AQUChy8KOEFsdHVhLk9hay5Db3JlLkRvY3VtZW50TW9kZWwuQ2hhcnRPYmplY3QsIEFsdHVhLk9hay5Db3JlBQI1BBIEEN145X26055Mqdke0GgqjiUMEgQQlg6CqlQ4Hk+RVvY00VnL8xUNBCUUNRg9HFUgZSQSUEFsdHVhLk9hay5Db3JlLkRvY3VtZW50TW9kZWwuVGVtcGxhdGluZy5DdXN0b21Qb3NpdGlvbkRlZmluaXRpb24sIEFsdHVhLk9hay5Db3JlDQQkBCIBBDCWKRANeIVAEtO1K0xPc0D8HMbsK/5sQGAGRYoxfVZAFBMVKB0sNTA4AEU1DlU8XUBkAgVEGAQEAgVIHAIFTCALBVAMBW5iLU5PFVQkEAEBCQERARkBIQEpATEBOQAoFgQSBBAAAAAAAAAAAAAAAAAAAAAACAEsFgQSBBAAAAAAAAAAAAAAAAAAAAAACAEwADpHQWx0dWEuT2FrLkNvcmUuQ2hhcnQuQ2x1c3RlcmVkQmFyV2l0aExpbmVQbG90RGVmaW5pdGlvbiwgQWx0dWEuT2FrLkNvcmU1DjUEEgQQQGldFTVNS02VDX5oMXYnQ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Do0Dw04KEYSqvsZ0ItRxSXFYQCHBIEEBF5bi6YHOlPpT4SGa3b+1UkAC2IAjWNAkSMAUgEEgQQOa6hS2PnK1Gv94eZJj3pqAwSBBDo0Dw04KEYSqvsZ0ItRxSXFZQCHBIEEOjcGhWyCfxHkHpCy/xxYFskAC2YAjWNAkSQAUIBABgDJZwCKQAxAEAASAJVoAJdpAJkEgQQ6NA8NOChGEqr7GdCLUcUl2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IBCOQD6APsA/AD9AP4A/wDgATcAgIBAOACDgEGhASIBIwEkASUBJgE5AIQAQecBKAEpASoBKwEsAS0BOgCAgEA7AIEAQG4BPACCgEEvATABMQEyAT0AgIBAPgCAgEA/AICAQCAAwIBAIQDAgEAjgMzQWx0dWEuT2FrLkNvcmUuVGhlbWluZy5Db2xvclBvaW50ZXIsIEFsdHVhLk9hay5Db3JliQNjUFBQ/5EDY1BQUP+UAwUEAwXMBJgDBQQDBdAEnAMHBAMEAQAIBKADBQQBLggEpAMEAAEIBKgDBAAACASsAwQEAAgEsAMEBAAIBLQDBAAACAS4AwUEAwXUBL0DYz4+5f/BA2NQUFD/xAMCAQDIAw4F2QSXAQsAAAAAAAAAAMwDDgXhBJkBCwAAAAAAAAAA0AMOBekEmwELAAAAAAAA4D/UAw4F8QSdAQsAAAAAAADgP9gDDgX5BJ8BCwAAAAAAAOA/3AMOBYEFoQELAAAAAAAA+D/gAwgFiQWfAQ2MBeQDCgWRBaUBDZkFpwHoAwoFoQWXAQ2lBaoB7AMKBa0FmwENsQWqAfADCgW1BZ0BDbkFqgH0AwkFvQWwAQ3FBWP4AwoFyQWzAQ3RBaoB/AMKBdUFswEN2QWqAYAECgXdBbgBDeUFqgGEBAcF6QW7AQkBiAQHBfEFvQEJAIwEBwX5BbsBCQGQBAcF/QXAAQkBlAQHBYUGwgEJAZgEBwWNBsQBCQGcBAoFlQbGAQ2dBsgBoAQKBaUGygENrQbMAaQECgW1Bs4BDb0G0AGoBAoFxQbOAQ29BtABrAQKBckGvQENzQbUAbAECgXVBsIBDc0G1AG0BAoF2QbEAQ3dBtgBuAQKBeUG2gEN7QbcAbwECgX1Br0BDfkG3wHABAoFgQfKAQ2FB98BxAQKBYkHwgENjQffAcgECgWRB8YBDZUH3wHMBAYBAZkH5wHQBAYBAaEH5wHUBAQBAgEE3gRTQWx0dWEuT2FrLkNvcmUuTW9kaWZpY2F0aW9uLlN0eWxpbmcuQWxsVmFsdWVBeGlzQ3VzdG9taXphdGlvblRhcmdldCwgQWx0dWEuT2FrLkNvcmXZBJcBAOYEWUFsdHVhLk9hay5Db3JlLk1vZGlmaWNhdGlvbi5TdHlsaW5nLlZhbHVlQXhpc0dyaWRsaW5lc0N1c3RvbWl6YXRpb25UYXJnZXQsIEFsdHVhLk9hay5Db3Jl4QSZAQDuBFNBbHR1YS5PYWsuQ29yZS5Nb2RpZmljYXRpb24uU3R5bGluZy5DYXRlZ29yeUF4aXNDdXN0b21pemF0aW9uVGFyZ2V0LCBBbHR1YS5PYWsuQ29yZekEmwEA9gRQQWx0dWEuT2FrLkNvcmUuTW9kaWZpY2F0aW9uLlN0eWxpbmcuT3JpZ29MaW5lQ3VzdG9taXphdGlvblRhcmdldCwgQWx0dWEuT2FrLkNvcmXxBJ0BAP4EXUFsdHVhLk9hay5Db3JlLk1vZGlmaWNhdGlvbi5TdHlsaW5nLkFsbENvbm5lY3RvcnNBdXhpbGlhcnlDdXN0b21pemF0aW9uVGFyZ2V0LCBBbHR1YS5PYWsuQ29yZfkEnwEAhgVZQWx0dWEuT2FrLkNvcmUuTW9kaWZpY2F0aW9uLlN0eWxpbmcuU2VyaWVzV2l0aFBsb3RLaW5kQ3VzdG9taXphdGlvblRhcmdldCwgQWx0dWEuT2FrLkNvcmWBBaEBAwWkB4kFnwEAjAUFDAMFqAeWBVZBbHR1YS5PYWsuQ29yZS5Nb2RpZmljYXRpb24uU3R5bGluZy5BbGxTZXJpZXNNYXJrZXJDdXN0b21pemF0aW9uVGFyZ2V0LCBBbHR1YS5PYWsuQ29yZZEFpQEAngU6QWx0dWEuT2FrLkNvcmUuVGhlbWluZy5CaW5kaW5nQ29sb3JQb2ludGVyLCBBbHR1YS5PYWsuQ29yZZkFpwEFBa0H7AGhBZcBAKoFN0FsdHVhLk9hay5Db3JlLlRoZW1pbmcuUGFnZUNvbG9yUG9pbnRlciwgQWx0dWEuT2FrLkNvcmWlBaoBBAAACACtBZsBALEFqgEEAAAIALUFnQEAuQWqAQQAAAgAwgVTQWx0dWEuT2FrLkNvcmUuTW9kaWZpY2F0aW9uLlN0eWxpbmcuQWxsR3JpZGxpbmVzQ3VzdG9taXphdGlvblRhcmdldCwgQWx0dWEuT2FrLkNvcmW9BbABAMUFY4CAgP/OBU1BbHR1YS5PYWsuQ29yZS5Nb2RpZmljYXRpb24uU3R5bGluZy5TZXJpZXNDdXN0b21pemF0aW9uVGFyZ2V0LCBBbHR1YS5PYWsuQ29yZckFswEUBBIEEDmuoUtj5ytRr/eHmSY96ajRBaoBBAAECADVBbMBFAQSBBBJOgyTWzVHSJBsmNvaCMP42QWqAQQABQgA4gVQQWx0dWEuT2FrLkNvcmUuTW9kaWZpY2F0aW9uLlN0eWxpbmcuQ29tcG9zaXRlQ3VzdG9taXphdGlvblRhcmdldCwgQWx0dWEuT2FrLkNvcmXdBbgBBQQDBbQH5QWqAQQABQgA7gVYQWx0dWEuT2FrLkNvcmUuTW9kaWZpY2F0aW9uLlN0eWxpbmcuU2VyaWVzTGFiZWxPZlR5cGVDdXN0b21pemF0aW9uVGFyZ2V0LCBBbHR1YS5PYWsuQ29yZekFuwECAAL2BVhBbHR1YS5PYWsuQ29yZS5Nb2RpZmljYXRpb24uU3R5bGluZy5BbGxWYWx1ZUF4aXNMYWJlbEN1c3RvbWl6YXRpb25UYXJnZXQsIEFsdHVhLk9hay5Db3Jl8QW9AQD5BbsBAgAAggZVQWx0dWEuT2FrLkNvcmUuTW9kaWZpY2F0aW9uLlN0eWxpbmcuQWxsVG90YWxMYWJlbHNDdXN0b21pemF0aW9uVGFyZ2V0LCBBbHR1YS5PYWsuQ29yZf0FwAEAigZXQWx0dWEuT2FrLkNvcmUuTW9kaWZpY2F0aW9uLlN0eWxpbmcuQWxsQ2F0ZWdvcnlMYWJlbEN1c3RvbWl6YXRpb25UYXJnZXQsIEFsdHVhLk9hay5Db3JlhQbCAQCSBlhBbHR1YS5PYWsuQ29yZS5Nb2RpZmljYXRpb24uU3R5bGluZy5BbGxBdXhpbGlhcnlMYWJlbEN1c3RvbWl6YXRpb25UYXJnZXQsIEFsdHVhLk9hay5Db3JljQbEAQCaBlhBbHR1YS5PYWsuQ29yZS5Nb2RpZmljYXRpb24uU3R5bGluZy5DYXRlZ29yeUF4aXNUaXRsZUN1c3RvbWl6YXRpb25UYXJnZXQsIEFsdHVhLk9hay5Db3JllQbGAQCiBkZBbHR1YS5PYWsuQ29yZS5QbG90dGluZy5BeGlzVGl0bGVMYWJlbFBsYWNlbWVudE91dHNpZGUsIEFsdHVhLk9hay5Db3JlnQbIAQIAAaoGXUFsdHVhLk9hay5Db3JlLk1vZGlmaWNhdGlvbi5TdHlsaW5nLkFsbFZhbHVlQXhpc1RpdGxlTGFiZWxDdXN0b21pemF0aW9uVGFyZ2V0LCBBbHR1YS5PYWsuQ29yZaUGygEAsgZCQWx0dWEuT2FrLkNvcmUuUGxvdHRpbmcuQXhpc1RpdGxlTGFiZWxQbGFjZW1lbnRGYXIsIEFsdHVhLk9hay5Db3JlrQbMAQIAALoGX0FsdHVhLk9hay5Db3JlLk1vZGlmaWNhdGlvbi5TdHlsaW5nLlNlcmllc0xhYmVsc1dpdGhQbG90S2luZEN1c3RvbWl6YXRpb25UYXJnZXQsIEFsdHVhLk9hay5Db3JltQbOAQUFuAcIAMIGPUFsdHVhLk9hay5Db3JlLlBsb3R0aW5nLkxhYmVsUGxhY2VtZW50T3V0c2lkZSwgQWx0dWEuT2FrLkNvcmW9BtABAMUGzgEFBbwHCADJBr0BANIGQUFsdHVhLk9hay5Db3JlLlBsb3R0aW5nLkF4aXNMYWJlbFBsYWNlbWVudE91dHNpZGUsIEFsdHVhLk9hay5Db3JlzQbUAQIBANUGwgEA2QbEAQDiBkZBbHR1YS5PYWsuQ29yZS5QbG90dGluZy5BdXhpbGlhcnlMYWJlbFBsYWNlbWVudERlZmF1bHQsIEFsdHVhLk9hay5Db3Jl3QbYAQDqBlBBbHR1YS5PYWsuQ29yZS5Nb2RpZmljYXRpb24uU3R5bGluZy5BbGxMYWJlbHNDdXN0b21pemF0aW9uVGFyZ2V0LCBBbHR1YS5PYWsuQ29yZeUG2gEA8gZCQWx0dWEuT2FrLkNvcmUuU3ludGF4U3RydWN0dXJlLkFjdHVhbEZvbnRTaXplVmFsdWUsIEFsdHVhLk9hay5Db3Jl7QbcAQkDAAAAAAAAIkD1Br0BAP4GQ0FsdHVhLk9hay5Db3JlLlN5bnRheFN0cnVjdHVyZS5BY3R1YWxGb250Q29sb3JWYWx1ZSwgQWx0dWEuT2FrLkNvcmX5Bt8BBQXBB6oBgQfKAQCFB98BBQXFB6oBiQfCAQCNB98BBQXJB6oBkQfGAQCVB98BBQXNB6oBngcvQWx0dWEuRGF0YS5JbmZyYXN0cnVjdHVyZS5QYXJhZ3JhcGgsIEFsdHVhLkRhdGGZB+cBBQwDBdAHoQfnAQUMAwXUB6QHAQWoBwoBAgAAgEAAAEBAsgdIQWx0dWEuT2FrLkNvcmUuU3ludGF4U3RydWN0dXJlLlBsb3RTZXJpZXNCaW5kaW5nU3RyYXRlZ3ksIEFsdHVhLk9hay5Db3JlrQfsAQC0BwYBAdkHswG4BwIJCrwHAQXBB6oBBAAACADFB6oBBAAACADJB6oBBAAACADNB6oBBAAACADQBwYBAd0H+AHUBwYBAeUH+AHZB7MBFAQSBBA5rqFLY+crUa/3h5kmPemo4gcvQWx0dWEuRGF0YS5JbmZyYXN0cnVjdHVyZS5OdW1iZXJSdW4sIEFsdHVhLkRhdGHdB/gBEwQOAwAAAAAAnJ9AHekH+wEN8AflB/gBEwQOAwAAAAAAoJ9AHfUH+wEN+AfuBz1BbHR1YS5EYXRhLk51bWJlckZvcm1hdHRpbmcuQ29tcG9zaXRlTnVtYmVyRm9ybWF0LCBBbHR1YS5EYXRh6Qf7AQsd/AclgAg1hAg9APAHEgQAHAAkACwANAA8AEwAVABdAPUH+wELHYgIJYwINZAIPQD4BxIEABwAJAAsADQAPABMAFQAXQD8BwkAAAwDBZQIEQCACAkAAAwDBZgIEQCECAoEASwMAS4UAmtyiAgJAAAMAwWcCBEAjAgJAAAMAwWgCBEAkAgKBAEsDAEuFAJrcpQIBgEBpQiKApgICgECrQiMAqUIigKcCAYBAbUIigKgCAoBArkIjAK1CIoCqghAQWx0dWEuRGF0YS5OdW1iZXJGb3JtYXR0aW5nLk51bWJlckZvcm1hdFZhbHVlU2VnbWVudCwgQWx0dWEuRGF0YaUIigIFBAMFvAiyCD9BbHR1YS5EYXRhLk51bWJlckZvcm1hdHRpbmcuTnVtYmVyRm9ybWF0VGV4dFNlZ21lbnQsIEFsdHVhLkRhdGGtCIwCBQQBLQkBtQiKAgUEAwXACLkIjAIFBAEtCQG8CAYBAcUIkgLACAYBAc0IkgLKCDlBbHR1YS5EYXRhLk51bWJlckZvcm1hdHRpbmcuTnVtYmVyUGxhY2Vob2xkZXIsIEFsdHVhLkRhdGHFCJICBQIwAAAAzQiSAgUCMAAAAA=="/>
  <p:tag name="GRUNT-SYNC" val="8a6c7f34d8674fdb93cbd45b0f2f8d1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RENDERHASH" val="5f2250403ce6a6c84d8197beedec9b81-svg"/>
  <p:tag name="GRUNT-X-SHAPEBOUNDS" val="ASIBBAAAACDFFT9AAAAAoCvle0AAAABAmaZaQAAAAODCVzRAAA=="/>
  <p:tag name="GRUNT-X-PAGEOBJECT" val="AQUCswIKPkFsdHVhLk9hay5Db3JlLkRvY3VtZW50TW9kZWwuQ2hhcnRMZWdlbmRPYmplY3QsIEFsdHVhLk9hay5Db3JlBQI5BBIEEHZUGjORZeZDkbOykGL/svcUEgQQoKBpf4bnKkqtpR3FnUyhny0MNRBEAgUUSABVGQdlIG0kDAQEAgUoEAIFLBQCAQAeUEFsdHVhLk9hay5Db3JlLkRvY3VtZW50TW9kZWwuVGVtcGxhdGluZy5DdXN0b21Qb3NpdGlvbkRlZmluaXRpb24sIEFsdHVhLk9hay5Db3JlGQckBCIBBAAAACDFFT9AAAAAoivle0AoEkw0maZaQKCVT+vCVzRAIAsFMAwFbmItTk8VNCQEAQEJASgCAQAsADAKBAEsDAEgFAJrcjQJBAVuYi1OTwgB"/>
  <p:tag name="GRUNT-SYNC" val="aa3156228ceb4f5ebddb0285f5a2a7d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220cb57a-1438-4ec2-95b6-596651eee34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xRAKN0FsdHVhLkRhdGEuRGF0YVNlcnZpY2VzLkVtYmVkZGVkRGF0YVNlcnZpY2UsIEFsdHVhLkRhdGEFAhkEEgQQH218kDtupUCVVbnyXAOtZw0MJREFDAYFGAgMEAUWQUFsdHVhLkRhdGEuRGF0YVNlcnZpY2VzLkVtYmVkZGVkRGF0YVNlcnZpY2VFZGl0b3JEYXRhLCBBbHR1YS5EYXRhEQUEBRwNIBgGBSQNKBUsHB4dBBIEEB/rjDimIctLiTIXQgTfWDQLAAAAAAAgYkAgHh0EEgQQhB+R4huFNUGwuFZrPUlJDwsAAAAAAAAyQCQEMDQ4PCgCQEQs6AIsBCgEEgQQ2o0rEHtPmkyZRivzTi/4HAwSBBBfl5CXxFq7QpsQMAZxTsVZDUgsBCgEEgQQdZ6YkVxDK0eAjaDLHe+U4wwSBBBfl5CXxFq7QpsQMAZxTsVZDUwsBCgEEgQQM3YuVsqsz0O4n/jX90PyIgwSBBBfl5CXxFq7QpsQMAZxTsVZDVAsBCgEEgQQH+uMOKYhy0uJMhdCBN9YNAwSBBBfl5CXxFq7QpsQMAZxTsVZDVQsBCgEEgQQ2o0rEHtPmkyZRivzTi/4HAwSBBD5LFn+/d9vRbn+Z9Mj0qsjDVgsBCgEEgQQdZ6YkVxDK0eAjaDLHe+U4wwSBBD5LFn+/d9vRbn+Z9Mj0qsjDVwsBCgEEgQQH+uMOKYhy0uJMhdCBN9YNAwSBBD5LFn+/d9vRbn+Z9Mj0qsjDWAsBCgEEgQQM3YuVsqsz0O4n/jX90PyIgwSBBD5LFn+/d9vRbn+Z9Mj0qsjDWQwGgQSBBDajSsQe0+aTJlGK/NOL/gcDAJDMRkBNBoEEgQQH+uMOKYhy0uJMhdCBN9YNAwCQzIZATgaBBIEEHWemJFcQytHgI2gyx3vlOMMAkMzGQE8GgQSBBAzdi5WyqzPQ7if+Nf3Q/IiDAJDNBkBQBoEEgQQX5eQl8Rau0KbEDAGcU7FWQwCUjEZAUQaBBIEEPksWf79329Fuf5n0yPSqyMMAlIzGQFIBA1oFWxMBA1oFXBQBA1oFXRUBA1oFXhYBA1oFXxcBQ1oFYABYAUNaBWEAWQFDWgViAFoAgQAbAUEAwWMAXAFBAMFkAF0BQQDBZQBeAUEAwWYAXwFBAMFnAGAAQUEAwWgAYQBBQQDBaQBiAEFBAMFqAGMAQIBAJABBQEBrQEslAEFAQG1ASyYAQUBAbkBLJwBBQEBvQEsoAEFAQHBASykAQUBAcUBLKgBBQEByQEssgEvQWx0dWEuRGF0YS5JbmZyYXN0cnVjdHVyZS5QYXJhZ3JhcGgsIEFsdHVhLkRhdGGtASwFDAMFzAG1ASwFDAMF0AG5ASwFDAMF1AG9ASwFDAMF2AHBASwFDAMF3AHFASwFDAMF4AHJASwFDAMF5AHMAQUBAekBO9ABBQEB8QE71AEFAQH1ATvYAQUBAfkBP9wBBQEBgQI/4AEFAQGFAj/kAQUBAYkCP+4BLUFsdHVhLkRhdGEuSW5mcmFzdHJ1Y3R1cmUuVGV4dFJ1biwgQWx0dWEuRGF0YekBOwkEBDIwMjMNjALxATsJBAQyMDI0DYwC9QE7CQQEMjAyMQ2MAv4BL0FsdHVhLkRhdGEuSW5mcmFzdHJ1Y3R1cmUuTnVtYmVyUnVuLCBBbHR1YS5EYXRh+QE/EgQNAwAAAAAAoJ9AHZECRQ2YAoECPxIEDQMAAAAAAABEQB2dAkUNoAKFAj8SBA0DAAAAAACAREAdpQJFDagCiQI/EgQNAwAAAAAAgERAHa0CRQ2wAowCEgQAHAAkACwANAA8AEwAVABdAJYCPUFsdHVhLkRhdGEuTnVtYmVyRm9ybWF0dGluZy5Db21wb3NpdGVOdW1iZXJGb3JtYXQsIEFsdHVhLkRhdGGRAkULHbQCJbgCNbwCPQCYAhIEABwAJAAsADQAPABMAFQAXQCdAkULHcACJcQCNcgCPQCgAhIEABwAJAAsADQAPABMAFQAXQClAkULHcwCJdACNdQCPQCoAhIEABwAJAAsADQAPABMAFQAXQCtAkULHdgCJdwCNeACPQCwAhIEABwAJAAsADQAPABMAFQAXQC0AgkAAAwDBeQCEQC4AgkAAAwDBegCEQC8AgoEASwMAS4UAmtywAIJAAAMAwXsAhEAxAIJAAAMAwXwAhEAyAIKBAEsDAEuFAJrcswCCQAADAMF9AIRANACCQAADAMF+AIRANQCCgQBLAwBLhQCa3LYAgkAAAwDBfwCEQDcAgkAAAwDBYADEQDgAgoEASwMAS4UAmty5AIFAQGFA2LoAggBAo0DZIUDYuwCBQEBlQNi8AIIAQKZA2SVA2L0AgUBAZ0DYvgCCAECoQNknQNi/AIFAQGlA2KAAwgBAqkDZKUDYooDQEFsdHVhLkRhdGEuTnVtYmVyRm9ybWF0dGluZy5OdW1iZXJGb3JtYXRWYWx1ZVNlZ21lbnQsIEFsdHVhLkRhdGGFA2IFBAMFrAOSAz9BbHR1YS5EYXRhLk51bWJlckZvcm1hdHRpbmcuTnVtYmVyRm9ybWF0VGV4dFNlZ21lbnQsIEFsdHVhLkRhdGGNA2QFBAEtCQGVA2IFBAMFsAOZA2QFBAEtCQGdA2IFBAMFtAOhA2QFBAEtCQGlA2IFBAMFuAOpA2QFBAEtCQGsAwUBAb0DcLADBQEBxQNwtAMFAQHFA3C4AwUBAcUDcMIDOUFsdHVhLkRhdGEuTnVtYmVyRm9ybWF0dGluZy5OdW1iZXJQbGFjZWhvbGRlciwgQWx0dWEuRGF0Yb0DcAUCMAAAAMUDcAUCMAAAAA=="/>
  <p:tag name="GRUNT-X-SHAPEBOUNDS" val="ASIBBAAAAMB4CkBAAAAAYP0TdEAAAAAAAHhqQAAAAGCVfVxAAA=="/>
  <p:tag name="GRUNT-RENDERHASH" val="b4bd88af23fef57f99fdcc1c2c31194b-svg"/>
  <p:tag name="GRUNT-X-PAGEOBJECT" val="AQUCkzAKOEFsdHVhLk9hay5Db3JlLkRvY3VtZW50TW9kZWwuQ2hhcnRPYmplY3QsIEFsdHVhLk9hay5Db3JlBQI1BBIEEKS6Ov8lt/5Jmm41jfW+mXYMEgQQH218kDtupUCVVbnyXAOtZxUNBCUUNRg9HFUgZSQSUEFsdHVhLk9hay5Db3JlLkRvY3VtZW50TW9kZWwuVGVtcGxhdGluZy5DdXN0b21Qb3NpdGlvbkRlZmluaXRpb24sIEFsdHVhLk9hay5Db3JlDQQkBCIBBAAAAMB4KkBAwiYgzGMadUABAAAAAGhqQPDZlitiylNAFBMVKB0sNTA4AEU1DlU8XUBkAgVEGAQEAgVIHAIFTCALBVAMBW5iLU5PFVQkEAEBCQERARkBIQEpATEBOQAoFgQSBBAAAAAAAAAAAAAAAAAAAAAACAEsFgQSBBAAAAAAAAAAAAAAAAAAAAAACAEwADpHQWx0dWEuT2FrLkNvcmUuQ2hhcnQuQ2x1c3RlcmVkQmFyV2l0aExpbmVQbG90RGVmaW5pdGlvbiwgQWx0dWEuT2FrLkNvcmU1DjUEEgQQyNNZ5HF4GEyIqOCoYamQPBwCBVglXDVgPAIFZEkBbWiNAWylAXC1AXUeuQEAxQF9IDwFBYQBDQBABAEACQBEAgEASAIBAEwAUAoEASwMASAUAmtyVAkEBW5iLU5PCAFYBAEBiAFcDQAACAEUAwWMARwAJQBgJgQiAQQAAAAAAAAQQAAAAAAAABBAAAAAAAAAEEAAAAAAAAAQQAgEZAIBAGgLAwAAAAAAgE1ACCBsCwMAAAAAAAAUQAggcEo1kAE9lAFFmAFVnAFdoAF1pAGNAagBnQGsAaUBsAGtAbQBzQG4AdUBvAHdAcAB5QHEAe0ByAH1AcwB/QHQAYUC1AGNAtgBlQLcAXpFQWx0dWEuT2FrLkNvcmUuUGxvdHRpbmcuQXV0b21hdGljQ2F0ZWdvcnlBeGlzU2V0dGluZ3MsIEFsdHVhLk9hay5Db3JldR4TAQEN4AEQABkBMAA95AFF6AFIAYIBPUFsdHVhLk9hay5Db3JlLlRoZW1pbmcuUGFnZUNvbG9yU2NoZW1lUG9pbnRlciwgQWx0dWEuT2FrLkNvcmV9IACEAQCIAUIBABgDJewBKQAxAEAASAJV8AFd9AFkEgQQVQ5v39UuEkGNIDQvNbIQ/234AXX8AY0BgAKRAQGdAYQCpQGIArUBjAKMAQIBAJABBQQDBZAClAEFBAMFlAKYAQUEAwWYApwBBQQDBZwCoAEFBAMFoAKkAQUEAwWgAqgBBQQDBaQCrAEFBAMFqAKwAQUEAwWsArQBBQQDBbACuAEFBAMFtAK8AQUEAwW4AsABBQQDBbwCxAEFBAMFwALIAQUEAwXEAswBBQQDBcgC0AEFBAMFzALUAQUEAwXQAtgBBQQDBdQC3AEFBAMF2ALgAQIBAOQBBgXdAlgIBOgBBgXlAlgIBOwBCwMAAAAAAAAAAAgC8AELAwAAAAAAAAAACAH0AQsDAAAAAAAAAAAIAfgBFQXoAg3sAhXwAh30AiX4Ai38AjWAA/wBBw2EAxWJA1iAAgsDAAAAAAAAAAAIBIQCBgWNA1gIBIgCBgWNA1gIBIwCBQQDBZADkAIEAQGUA5QCDgEGmAOcA6ADpAOoA6wDmAIEAQGwA5wCAgEAoAICAQCkAgIBAKgCBAEBtAOsAh4BDrgDvAPAA8QDyAPMA9AD1APYA9wD4APkA+gD7AOwAgIBALQCDgEG8AP0A/gD/AOABIQEuAIQAQeIBIwEkASUBJgEnASgBLwCAgEAwAIEAQGkBMQCCgEEqASsBLAEtATIAgIBAMwCAgEA0AICAQDUAgQBAbgE2AICAQDiAjNBbHR1YS5PYWsuQ29yZS5UaGVtaW5nLkNvbG9yUG9pbnRlciwgQWx0dWEuT2FrLkNvcmXdAlhQUFD/5QJYUFBQ/+gCBwQDBAEACATsAgUEAS4IBPACBAABCAT0AgQAAAgE+AIEBAAIBPwCBAQACASAAwQAAAgEhAMFBAMFvASJA1g+PuX/jQNYUFBQ/5ADAgEAlAMOBcEEkQELAAAAAAAA0D+YAw4FyQSTAQsAAAAAAAAAAJwDDgXRBJUBCwAAAAAAAAAAoAMOBdkElwELAAAAAAAA4D+kAw4F4QSZAQsAAAAAAADgP6gDDgXpBJsBCwAAAAAAAOA/rAMOBfEEnQELAAAAAAAA+D+wAwgF+QSbAQ38BLQDCgWBBZEBDYUFogG4AwoFjQWkAQ2VBaYBvAMKBZ0FkwENoQWiAcADCgWlBZcBDakFogHEAwoFrQWZAQ2xBaIByAMJBbUFrgENvQVYzAMJBcEFkQENxQVY0AMKBckFswEN0QWiAdQDCgXVBbMBDdkFogHYAwoF3QWzAQ3hBaIB3AMKBd0FswEN5QWiAeADCgXpBbMBDe0FogHkAwoF8QW9AQ35BaIB6AMKBf0FswENgQaiAewDCgX9BbMBDYEGogHwAwcFhQbCAQkB9AMHBY0GxAEJAPgDBwWVBsIBCQH8AwcFmQbHAQkBgAQHBaEGyQEJAYQEBwWpBssBCQGIBAoFsQbNAQ25Bs8BjAQKBcEG0QENyQbTAZAECgXRBtUBDdkG1wGUBAoF4QbVAQ3ZBtcBmAQKBeUGxAEN6QbbAZwECgXxBskBDekG2wGgBAoF9QbLAQ35Bt8BpAQKBYEH4QENiQfjAagECgWRB8QBDZUH5gGsBAoFnQfRAQ2hB+YBsAQKBaUHyQENqQfmAbQECgWtB80BDbEH5gG4BAoFtQfuAQ29B/ABvAQEAQIBBMYETUFsdHVhLk9hay5Db3JlLk1vZGlmaWNhdGlvbi5TdHlsaW5nLlNlcmllc0N1c3RvbWl6YXRpb25UYXJnZXQsIEFsdHVhLk9hay5Db3JlwQSRARQEEgQQ3hL/oLfjmVGNga5GutPNVc4EU0FsdHVhLk9hay5Db3JlLk1vZGlmaWNhdGlvbi5TdHlsaW5nLkFsbFZhbHVlQXhpc0N1c3RvbWl6YXRpb25UYXJnZXQsIEFsdHVhLk9hay5Db3JlyQSTAQDWBFlBbHR1YS5PYWsuQ29yZS5Nb2RpZmljYXRpb24uU3R5bGluZy5WYWx1ZUF4aXNHcmlkbGluZXNDdXN0b21pemF0aW9uVGFyZ2V0LCBBbHR1YS5PYWsuQ29yZdEElQEA3gRTQWx0dWEuT2FrLkNvcmUuTW9kaWZpY2F0aW9uLlN0eWxpbmcuQ2F0ZWdvcnlBeGlzQ3VzdG9taXphdGlvblRhcmdldCwgQWx0dWEuT2FrLkNvcmXZBJcBAOYEUEFsdHVhLk9hay5Db3JlLk1vZGlmaWNhdGlvbi5TdHlsaW5nLk9yaWdvTGluZUN1c3RvbWl6YXRpb25UYXJnZXQsIEFsdHVhLk9hay5Db3Jl4QSZAQDuBF1BbHR1YS5PYWsuQ29yZS5Nb2RpZmljYXRpb24uU3R5bGluZy5BbGxDb25uZWN0b3JzQXV4aWxpYXJ5Q3VzdG9taXphdGlvblRhcmdldCwgQWx0dWEuT2FrLkNvcmXpBJsBAPYEWUFsdHVhLk9hay5Db3JlLk1vZGlmaWNhdGlvbi5TdHlsaW5nLlNlcmllc1dpdGhQbG90S2luZEN1c3RvbWl6YXRpb25UYXJnZXQsIEFsdHVhLk9hay5Db3Jl8QSdAQMFxAf5BJsBAPwEBQwDBcgHgQWRARQEEgQQ3hL/oLfjmVGNga5GutPNVYoFN0FsdHVhLk9hay5Db3JlLlRoZW1pbmcuUGFnZUNvbG9yUG9pbnRlciwgQWx0dWEuT2FrLkNvcmWFBaIBBAAACACSBVZBbHR1YS5PYWsuQ29yZS5Nb2RpZmljYXRpb24uU3R5bGluZy5BbGxTZXJpZXNNYXJrZXJDdXN0b21pemF0aW9uVGFyZ2V0LCBBbHR1YS5PYWsuQ29yZY0FpAEAmgU6QWx0dWEuT2FrLkNvcmUuVGhlbWluZy5CaW5kaW5nQ29sb3JQb2ludGVyLCBBbHR1YS5PYWsuQ29yZZUFpgEFBc0H9AGdBZMBAKEFogEEAAAIAKUFlwEAqQWiAQQAAAgArQWZAQCxBaIBBAAACAC6BVNBbHR1YS5PYWsuQ29yZS5Nb2RpZmljYXRpb24uU3R5bGluZy5BbGxHcmlkbGluZXNDdXN0b21pemF0aW9uVGFyZ2V0LCBBbHR1YS5PYWsuQ29yZbUFrgEAvQVYgICA/8EFkQEUBBIEEN4S/6C345lRjYGuRrrTzVXFBVikWgD/zgVQQWx0dWEuT2FrLkNvcmUuTW9kaWZpY2F0aW9uLlN0eWxpbmcuQ29tcG9zaXRlQ3VzdG9taXphdGlvblRhcmdldCwgQWx0dWEuT2FrLkNvcmXJBbMBBQQDBdQH0QWiAQQAAQgB1QWzAQUEAwXYB9kFogEEAAEIAN0FswEFBAMF3AfhBaIBBAABCAHlBaIBBAADCADpBbMBBQQDBeAH7QWiAQQAAQgB9gVQQWx0dWEuT2FrLkNvcmUuTW9kaWZpY2F0aW9uLlN0eWxpbmcuRGF0YVBvaW50Q3VzdG9taXphdGlvblRhcmdldCwgQWx0dWEuT2FrLkNvcmXxBb0BKAQSBBDeEv+gt+OZUY2Brka6081VDBIEEBSBN9r8Y2RWul1CCKzVv/D5BaIBBAABCAD9BbMBBQQDBeQHgQaiAQQAAQgAigZYQWx0dWEuT2FrLkNvcmUuTW9kaWZpY2F0aW9uLlN0eWxpbmcuU2VyaWVzTGFiZWxPZlR5cGVDdXN0b21pemF0aW9uVGFyZ2V0LCBBbHR1YS5PYWsuQ29yZYUGwgECAAKSBlhBbHR1YS5PYWsuQ29yZS5Nb2RpZmljYXRpb24uU3R5bGluZy5BbGxWYWx1ZUF4aXNMYWJlbEN1c3RvbWl6YXRpb25UYXJnZXQsIEFsdHVhLk9hay5Db3JljQbEAQCVBsIBAgAAngZVQWx0dWEuT2FrLkNvcmUuTW9kaWZpY2F0aW9uLlN0eWxpbmcuQWxsVG90YWxMYWJlbHNDdXN0b21pemF0aW9uVGFyZ2V0LCBBbHR1YS5PYWsuQ29yZZkGxwEApgZXQWx0dWEuT2FrLkNvcmUuTW9kaWZpY2F0aW9uLlN0eWxpbmcuQWxsQ2F0ZWdvcnlMYWJlbEN1c3RvbWl6YXRpb25UYXJnZXQsIEFsdHVhLk9hay5Db3JloQbJAQCuBlhBbHR1YS5PYWsuQ29yZS5Nb2RpZmljYXRpb24uU3R5bGluZy5BbGxBdXhpbGlhcnlMYWJlbEN1c3RvbWl6YXRpb25UYXJnZXQsIEFsdHVhLk9hay5Db3JlqQbLAQC2BlhBbHR1YS5PYWsuQ29yZS5Nb2RpZmljYXRpb24uU3R5bGluZy5DYXRlZ29yeUF4aXNUaXRsZUN1c3RvbWl6YXRpb25UYXJnZXQsIEFsdHVhLk9hay5Db3JlsQbNAQC+BkZBbHR1YS5PYWsuQ29yZS5QbG90dGluZy5BeGlzVGl0bGVMYWJlbFBsYWNlbWVudE91dHNpZGUsIEFsdHVhLk9hay5Db3JluQbPAQIAAcYGXUFsdHVhLk9hay5Db3JlLk1vZGlmaWNhdGlvbi5TdHlsaW5nLkFsbFZhbHVlQXhpc1RpdGxlTGFiZWxDdXN0b21pemF0aW9uVGFyZ2V0LCBBbHR1YS5PYWsuQ29yZcEG0QEAzgZCQWx0dWEuT2FrLkNvcmUuUGxvdHRpbmcuQXhpc1RpdGxlTGFiZWxQbGFjZW1lbnRGYXIsIEFsdHVhLk9hay5Db3JlyQbTAQIAANYGX0FsdHVhLk9hay5Db3JlLk1vZGlmaWNhdGlvbi5TdHlsaW5nLlNlcmllc0xhYmVsc1dpdGhQbG90S2luZEN1c3RvbWl6YXRpb25UYXJnZXQsIEFsdHVhLk9hay5Db3Jl0QbVAQUF6AcIAN4GPUFsdHVhLk9hay5Db3JlLlBsb3R0aW5nLkxhYmVsUGxhY2VtZW50T3V0c2lkZSwgQWx0dWEuT2FrLkNvcmXZBtcBAOEG1QEFBewHCADlBsQBAO4GQUFsdHVhLk9hay5Db3JlLlBsb3R0aW5nLkF4aXNMYWJlbFBsYWNlbWVudE91dHNpZGUsIEFsdHVhLk9hay5Db3Jl6QbbAQIBAPEGyQEA9QbLAQD+BkZBbHR1YS5PYWsuQ29yZS5QbG90dGluZy5BdXhpbGlhcnlMYWJlbFBsYWNlbWVudERlZmF1bHQsIEFsdHVhLk9hay5Db3Jl+QbfAQCGB1BBbHR1YS5PYWsuQ29yZS5Nb2RpZmljYXRpb24uU3R5bGluZy5BbGxMYWJlbHNDdXN0b21pemF0aW9uVGFyZ2V0LCBBbHR1YS5PYWsuQ29yZYEH4QEAjgdCQWx0dWEuT2FrLkNvcmUuU3ludGF4U3RydWN0dXJlLkFjdHVhbEZvbnRTaXplVmFsdWUsIEFsdHVhLk9hay5Db3JliQfjAQkDAAAAAAAAKECRB8QBAJoHQ0FsdHVhLk9hay5Db3JlLlN5bnRheFN0cnVjdHVyZS5BY3R1YWxGb250Q29sb3JWYWx1ZSwgQWx0dWEuT2FrLkNvcmWVB+YBBQXxB6IBnQfRAQChB+YBBQX1B6IBpQfJAQCpB+YBBQX5B6IBrQfNAQCxB+YBBQX9B6IBugdSQWx0dWEuT2FrLkNvcmUuTW9kaWZpY2F0aW9uLlN0eWxpbmcuU2VyaWVzTGFiZWxDdXN0b21pemF0aW9uVGFyZ2V0LCBBbHR1YS5PYWsuQ29yZbUH7gEWBBIEEN4S/6C345lRjYGuRrrTzVUIAMIHRkFsdHVhLk9hay5Db3JlLlN5bnRheFN0cnVjdHVyZS5BY3R1YWxOdW1iZXJGb3JtYXRWYWx1ZSwgQWx0dWEuT2FrLkNvcmW9B/ABBQWBCIECxAcBBcgHCgECAACAQAAAQEDSB0hBbHR1YS5PYWsuQ29yZS5TeW50YXhTdHJ1Y3R1cmUuUGxvdFNlcmllc0JpbmRpbmdTdHJhdGVneSwgQWx0dWEuT2FrLkNvcmXNB/QBANQHBgEBiQiRAdgHBgEBjQiRAdwHDgEDkQi9AZUIvQGZCL0B4AcGAQGdCJEB5AcOAQOhCL0BpQi9AakIvQHoBwIJCuwHAQXxB6IBBAAACAD1B6IBBAAACAD5B6IBBAAACAD9B6IBBAAACACGCD1BbHR1YS5EYXRhLk51bWJlckZvcm1hdHRpbmcuQ29tcG9zaXRlTnVtYmVyRm9ybWF0LCBBbHR1YS5EYXRhgQiBAgodrAglsAg1UD0AiQiRARQEEgQQ3hL/oLfjmVGNga5GutPNVY0IkQEUBBIEEN4S/6C345lRjYGuRrrTzVWRCL0BKAQSBBDeEv+gt+OZUY2Brka6081VDBIEEBSBN9r8Y2RWul1CCKzVv/CVCL0BKAQSBBDeEv+gt+OZUY2Brka6081VDBIEEK3xkaMagnVfuHWmb/AH5o2ZCL0BKAQSBBDeEv+gt+OZUY2Brka6081VDBIEELZ5fHLQQfJQqnl1ubK6ZJudCJEBFAQSBBDeEv+gt+OZUY2Brka6081VoQi9ASgEEgQQ3hL/oLfjmVGNga5GutPNVQwSBBAUgTfa/GNkVrpdQgis1b/wpQi9ASgEEgQQ3hL/oLfjmVGNga5GutPNVQwSBBCt8ZGjGoJ1X7h1pm/wB+aNqQi9ASgEEgQQ3hL/oLfjmVGNga5GutPNVQwSBBC2eXxy0EHyUKp5dbmyumSbrAgJAAAMAwW0CBEAsAgJAAAMAwW4CBEAtAgGAQG9CJACuAgKAQLFCJICzQiQAsIIQEFsdHVhLkRhdGEuTnVtYmVyRm9ybWF0dGluZy5OdW1iZXJGb3JtYXRWYWx1ZVNlZ21lbnQsIEFsdHVhLkRhdGG9CJACBQQDBdAIygg/QWx0dWEuRGF0YS5OdW1iZXJGb3JtYXR0aW5nLk51bWJlckZvcm1hdFRleHRTZWdtZW50LCBBbHR1YS5EYXRhxQiSAgUEAS0JAc0IkAIFBAMF1AjQCAYBAdkIlwLUCAYBAdkIlwLeCDlBbHR1YS5EYXRhLk51bWJlckZvcm1hdHRpbmcuTnVtYmVyUGxhY2Vob2xkZXIsIEFsdHVhLkRhdGHZCJcCBQIwAAAA"/>
  <p:tag name="GRUNT-SYNC" val="82ba61c8bbf749a78985f73e8dd3f49c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rR4KN0FsdHVhLkRhdGEuRGF0YVNlcnZpY2VzLkVtYmVkZGVkRGF0YVNlcnZpY2UsIEFsdHVhLkRhdGEFAhkEEgQQn7TYSG0zm0q0uD3zeZAzHg0MJREFDAYFGAgSEAgWQUFsdHVhLkRhdGEuRGF0YVNlcnZpY2VzLkVtYmVkZGVkRGF0YVNlcnZpY2VFZGl0b3JEYXRhLCBBbHR1YS5EYXRhEQUEBRwNIBgGBSQNKBUsHB4dBBIEEB/rjDimIctLiTIXQgTfWDQLAAAAAAAgYkAgWh0EEgQQ6KtOsMwTTUOX+Kgfpyx9GQsAAAAAAAAyQB0EEgQQhB+R4huFNUGwuFZrPUlJDwsAAAAAAAAyQB0EEgQQ+SxZ/v3fb0W5/mfTI9KrIwsAAAAAAAAyQCQFMDQ4PEAoA0RITCymBSwEKAQSBBA0+lPvMrAAQ5eaob7iS4yEDBIEEMfBlMHb+5xDgjPjmOp+SasNUCwEKAQSBBDajSsQe0+aTJlGK/NOL/gcDBIEEF+XkJfEWrtCmxAwBnFOxVkNVCwEKAQSBBB1npiRXEMrR4CNoMsd75TjDBIEEF+XkJfEWrtCmxAwBnFOxVkNWCwEKAQSBBDajSsQe0+aTJlGK/NOL/gcDBIEEDcGo+sqLPlEoN7fVizMk+kNXCwEKAQSBBAzdi5WyqzPQ7if+Nf3Q/IiDBIEEF+XkJfEWrtCmxAwBnFOxVkNYCwEKAQSBBAf64w4piHLS4kyF0IE31g0DBIEEF+XkJfEWrtCmxAwBnFOxVkNZCwEKAQSBBAf64w4piHLS4kyF0IE31g0DBIEEMfBlMHb+5xDgjPjmOp+SasNaCwEKAQSBBDajSsQe0+aTJlGK/NOL/gcDBIEEMfBlMHb+5xDgjPjmOp+SasNbCwEKAQSBBAzdi5WyqzPQ7if+Nf3Q/IiDBIEEMfBlMHb+5xDgjPjmOp+SasNcCwEKAQSBBA0+lPvMrAAQ5eaob7iS4yEDBIEEF+XkJfEWrtCmxAwBnFOxVkNdCwEKAQSBBAzdi5WyqzPQ7if+Nf3Q/IiDBIEEDcGo+sqLPlEoN7fVizMk+kNeCwEKAQSBBA0+lPvMrAAQ5eaob7iS4yEDBIEEDcGo+sqLPlEoN7fVizMk+kNfC0EKAQSBBB1npiRXEMrR4CNoMsd75TjDBIEEDcGo+sqLPlEoN7fVizMk+kNgAEtBCgEEgQQH+uMOKYhy0uJMhdCBN9YNAwSBBA3BqPrKiz5RKDe31YszJPpDYQBLQQoBBIEEHWemJFcQytHgI2gyx3vlOMMEgQQx8GUwdv7nEOCM+OY6n5Jqw2IATAaBBIEENqNKxB7T5pMmUYr804v+BwMAkMxGQE0GgQSBBAf64w4piHLS4kyF0IE31g0DAJDMhkBOBoEEgQQdZ6YkVxDK0eAjaDLHe+U4wwCQzMZATwaBBIEEDN2LlbKrM9DuJ/41/dD8iIMAkM0GQFAGwQSBBA0+lPvMrAAQ5eaob7iS4yEDANDMTIZAUQaBBIEEF+XkJfEWrtCmxAwBnFOxVkMAlIxGQFIGgQSBBA3BqPrKiz5RKDe31YszJPpDAJSNRkBTBoEEgQQx8GUwdv7nEOCM+OY6n5JqwwCUjcZAVAGDYwBFZABVAYNlAEVmAFYBg2UARWcAVwGDaABFaQBYAYNlAEVqAFkBg2UARWsAWgGDYwBFbABbAYNjAEVtAFwBg2MARW4AXQGDaABFbwBeAYNoAEVwAF8Bg2gARXEAYABBg2gARXIAYQBBg2gARXMAYgBBg2MARXQAYwBAgQAkAEFBAMF1AGUAQIEAJgBBQQDBdgBnAEFBAMF3AGgAQIEAKQBBQQDBeABqAEFBAMF5AGsAQUEAwXoAbABBQQDBewBtAEFBAMF8AG4AQUEAwX0AbwBBQQDBfgBwAEFBAMF/AHEAQUEAwWAAsgBBQQDBYQCzAEFBAMFiALQAQUEAwWMAtQBBQEBkQJF2AECAQDcAQUBAZkCReABBQEBnQJF5AEFAQGhAkXoAQUBAaUCRewBBQEBqQJF8AEFAQGtAkX0AQUBAbECRfgBBQEBtQJF/AEFAQG5AkWAAgUBAb0CRYQCBQEBwQJFiAIFAQHFAkWMAgUBAckCRZYCL0FsdHVhLkRhdGEuSW5mcmFzdHJ1Y3R1cmUuUGFyYWdyYXBoLCBBbHR1YS5EYXRhkQJFBQwDBcwCmQJFBQwDBdACnQJFBQwDBdQCoQJFBQwDBdgCpQJFBQwDBdwCqQJFBQwDBeACrQJFBQwDBeQCsQJFBQwDBegCtQJFBQwDBewCuQJFBQwDBfACvQJFBQwDBfQCwQJFBQwDBfgCxQJFBQwDBfwCyQJFBQwDBYADzAIFAQGFA2LQAgUBAY0DZNQCBQEBlQNi2AIFAQGZA2TcAgUBAZ0DZOACBQEBoQNi5AIFAQGlA2LoAgUBAakDYuwCBQEBrQNk8AIFAQGxA2L0AgUBAbUDYvgCBQEBuQNi/AIFAQG9A2KAAwUBAcEDYooDL0FsdHVhLkRhdGEuSW5mcmFzdHJ1Y3R1cmUuTnVtYmVyUnVuLCBBbHR1YS5EYXRhhQNiEgQNAwAAAAAAAEZAHcUDcg3MA5IDLUFsdHVhLkRhdGEuSW5mcmFzdHJ1Y3R1cmUuVGV4dFJ1biwgQWx0dWEuRGF0YY0DZBQED1Ryw7huZGVsYWcgU8O4cg3QA5UDYhIEDQMAAAAAAJyfQB3VA3IN2AOZA2QVBBBNw7hyZSBvZyBSb21zZGFsDdADnQNkFAQPVHLDuG5kZWxhZyBOb3JkDdwDoQNiEgQNAwAAAAAAAElAHeEDcg3kA6UDYhIEDQMAAAAAAKCfQB3pA3IN7AOpA2ISBA0DAAAAAACARUAd8QNyDfQDrQNkCgQFTm9yZ2UN+AOxA2ISBA0DAAAAAACARUAd/QNyDYAEtQNiEgQNAwAAAAAAgENAHYUEcg2IBLkDYhIEDQMAAAAAAAA/QB2NBHINkAS9A2ISBA0DAAAAAAAASUAdlQRyDZgEwQNiEgQNAwAAAAAAgEFAHZ0Ecg2gBMoDPUFsdHVhLkRhdGEuTnVtYmVyRm9ybWF0dGluZy5Db21wb3NpdGVOdW1iZXJGb3JtYXQsIEFsdHVhLkRhdGHFA3ILHaQEJagENawEPQDMAxIEABwAJAAsADQAPABMAFQAXQDQAxIEABwAJAAsADQAPABMAFQAXQDVA3ILHbAEJbQENbgEPQDYAxIEABwAJAAsADQAPABMAFQAXQDcAxIEABwAJAAsADQAPABMAFQAXQDhA3ILHbwEJcAENcQEPQDkAxIEABwAJAAsADQAPABMAFQAXQDpA3ILHcgEJcwENdAEPQDsAxIEABwAJAAsADQAPABMAFQAXQDxA3ILHdQEJdgENdwEPQD0AxIEABwAJAAsADQAPABMAFQAXQD4AxIEABwAJAAsADQAPABMAFQAXQD9A3ILHeAEJeQENegEPQCABBIEABwAJAAsADQAPABMAFQAXQCFBHILHewEJfAENfQEPQCIBBIEABwAJAAsADQAPABMAFQAXQCNBHILHfgEJfwENYAFPQCQBBIEABwAJAAsADQAPABMAFQAXQCVBHILHYQFJYgFNYwFPQCYBBIEABwAJAAsADQAPABMAFQAXQCdBHILHZAFJZQFNZgFPQCgBBIEABwAJAAsADQAPABMAFQAXQCkBAkAAAwDBZwFEQCoBAkAAAwDBaAFEQCsBAoEASwMAS4UAmtysAQJAAAMAwWkBREAtAQJAAAMAwWoBREAuAQKBAEsDAEuFAJrcrwECQAADAMFrAURAMAECQAADAMFsAURAMQECgQBLAwBLhQCa3LIBAkAAAwDBbQFEQDMBAkAAAwDBbgFEQDQBAoEASwMAS4UAmty1AQJAAAMAwW8BREA2AQJAAAMAwXABREA3AQKBAEsDAEuFAJrcuAECQAADAMFxAURAOQECQAADAMFyAURAOgECgQBLAwBLhQCa3LsBAkAAAwDBcwFEQDwBAkAAAwDBdAFEQD0BAoEASwMAS4UAmty+AQJAAAMAwXUBREA/AQJAAAMAwXYBREAgAUKBAEsDAEuFAJrcoQFCQAADAMF3AURAIgFCQAADAMF4AURAIwFCgQBLAwBLhQCa3KQBQkAAAwDBeQFEQCUBQkAAAwDBegFEQCYBQoEASwMAS4UAmtynAUGAQHtBbwBoAUKAQL1Bb4B7QW8AaQFBgEB/QW8AagFCgECgQa+Af0FvAGsBQYBAYUGvAGwBQoBAokGvgGFBrwBtAUGAQGNBrwBuAUKAQKRBr4BjQa8AbwFBgEBlQa8AcAFCgECmQa+AZUGvAHEBQYBAZ0GvAHIBQoBAqEGvgGdBrwBzAUGAQGlBrwB0AUKAQKpBr4BpQa8AdQFBgEBrQa8AdgFCgECsQa+Aa0GvAHcBQYBAbUGvAHgBQoBArkGvgG1BrwB5AUGAQG9BrwB6AUKAQLBBr4BvQa8AfIFQEFsdHVhLkRhdGEuTnVtYmVyRm9ybWF0dGluZy5OdW1iZXJGb3JtYXRWYWx1ZVNlZ21lbnQsIEFsdHVhLkRhdGHtBbwBBQQDBcQG+gU/QWx0dWEuRGF0YS5OdW1iZXJGb3JtYXR0aW5nLk51bWJlckZvcm1hdFRleHRTZWdtZW50LCBBbHR1YS5EYXRh9QW+AQUEAS0JAf0FvAEFBAMFyAaBBr4BBQQBLQkBhQa8AQUEAwXMBokGvgEFBAEtCQGNBrwBBQQDBdAGkQa+AQUEAS0JAZUGvAEFBAMF1AaZBr4BBQQBLQkBnQa8AQUEAwXYBqEGvgEFBAEtCQGlBrwBBQQDBdwGqQa+AQUEAS0JAa0GvAEFBAMF4AaxBr4BBQQBLQkBtQa8AQUEAwXkBrkGvgEFBAEtCQG9BrwBBQQDBegGwQa+AQUEAS0JAcQGBgEB7QbcAcgGBgEB9QbcAcwGBgEB7QbcAdAGBgEB+QbcAdQGBgEB7QbcAdgGBgEB/QbcAdwGBgEB/QbcAeAGBgEB/QbcAeQGBgEB/QbcAegGBgEB7QbcAfIGOUFsdHVhLkRhdGEuTnVtYmVyRm9ybWF0dGluZy5OdW1iZXJQbGFjZWhvbGRlciwgQWx0dWEuRGF0Ye0G3AEFAjAAAAD1BtwBBQIwAAAA+QbcAQUCMAAAAP0G3AEFAjAAAAA="/>
  <p:tag name="GRUNT-RENDERHASH" val="2beaa341f6682b0e7f80d1e2ee6bb7f4-svg"/>
  <p:tag name="GRUNT-X-SHAPEBOUNDS" val="ASIBBAAAAGCClXFAAAAAQN0ec0AAAABAHntzQAAAAODX9WFAAA=="/>
  <p:tag name="GRUNT-X-PAGEOBJECT" val="AQUC4EIKOEFsdHVhLk9hay5Db3JlLkRvY3VtZW50TW9kZWwuQ2hhcnRPYmplY3QsIEFsdHVhLk9hay5Db3JlBQI1BBIEEJTX/z3hX3VOqPwQmsGonwQMEgQQn7TYSG0zm0q0uD3zeZAzHhUNBCUUNRg9HFUgZSQSUEFsdHVhLk9hay5Db3JlLkRvY3VtZW50TW9kZWwuVGVtcGxhdGluZy5DdXN0b21Qb3NpdGlvbkRlZmluaXRpb24sIEFsdHVhLk9hay5Db3JlDQQkBCIBBAhGz1yCt3FAZFcxPjVwdEAe0v88HjdzQGgXUmMcc1ZAFBMVKB0sNTA4AEU1DlU8XUBkAgVEGAQEAgVIHAIFTCALBVAMBW5iLU5PFVQkEAEBCQERARkBIQEpATEBOQAoFgQSBBAAAAAAAAAAAAAAAAAAAAAACAEsFgQSBBAAAAAAAAAAAAAAAAAAAAAACAEwADo3QWx0dWEuT2FrLkNvcmUuQ2hhcnQuTGluZVBsb3REZWZpbml0aW9uLCBBbHR1YS5PYWsuQ29yZTUORgAACAQlWDwSBBDOTvcEtiENSa3HnsycEBDiRAIFXFVgWQFzAAAAAAAA8D98AgVkhQFpG5EBAJ0BcKUBdR6pAQC1AXy5AQA8BQWAAQ0AQAQBAAkARAgBA4QBiAGMAUgCAQBMAFAKBAEsDAEgFAJrclQJBAVuYi1OTwgBWA0AAAgBFAMFkAEcACUAXAIBAGAmBCIBBAAAAAAAABBAAAAAAAAAEEAAAAAAAAAQQAAAAAAAABBACARkBAEBlAFuRUFsdHVhLk9hay5Db3JlLlBsb3R0aW5nLkF1dG9tYXRpY0NhdGVnb3J5QXhpc1NldHRpbmdzLCBBbHR1YS5PYWsuQ29yZWkbEwEBDZgBEAAZATAAPZwBRaABSAFwBgWlASoIAno9QWx0dWEuT2FrLkNvcmUuVGhlbWluZy5QYWdlQ29sb3JTY2hlbWVQb2ludGVyLCBBbHR1YS5PYWsuQ29yZXUeAHxKNawBPbABRbQBVbgBXbwBdcABjQHEAZ0ByAGlAcwBrQHQAc0B1AHVAdgB3QHcAeUB4AHtAeQB9QHoAf0B7AGFAvABjQL0AZUC+AGAAQCEAUgEEgQQ3hL/oLfjmVGNga5GutPNVQwSBBCiedtlVaKQRLOioR2c/w1PFfwBHBIEEPksWf79329Fuf5n0yPSqyMkAC2AAjWFAkKIAUgEEgQQMJ2TYTolGkK3RQAIzlWRyAwSBBCiedtlVaKQRLOioR2c/w1PFYwCHBIEEDcGo+sqLPlEoN7fVizMk+kkAC2QAjWVAkKMAUgEEgQQjqy5SmFmCkid5pTpdje+uAwSBBCiedtlVaKQRLOioR2c/w1PFZgCHBIEEMfBlMHb+5xDgjPjmOp+SaskAC2cAjWhAkKQAQIBAJQBQgEBGAMlpAIpADEAQABIAlWoAl2sAmQSBBCiedtlVaKQRLOioR2c/w1PbbACdbQCjQG4ApEBAZ0BvAKlAcACtQHEApgBAgEAnAEGBckCUwgEoAEGBdECUwgEqgE6QWx0dWEuT2FrLkNvcmUuVGhlbWluZy5CaW5kaW5nQ29sb3JQb2ludGVyLCBBbHR1YS5PYWsuQ29yZaUBKgQF1QJWrAEFBAMF3AKwAQUEAwXgArQBBQQDBeQCuAEFBAMF6AK8AQUEAwXsAsABBQQDBfACxAEFBAMF9ALIAQUEAwX4AswBBQQDBfwC0AEFBAMFgAPUAQUEAwWEA9gBBQQDBYgD3AEFBAMFjAPgAQUEAwWQA+QBBQQDBZQD6AEFBAMFmAPsAQUEAwWcA/ABBQQDBaAD9AEFBAMFpAP4AQUEAwWoA/wBBQWsAwgBgAIEBQAIAYoCPkFsdHVhLk9hay5Db3JlLkNoYXJ0LkRlZmF1bHRQbG90U2VyaWVzU2V0dGluZ3MsIEFsdHVhLk9hay5Db3JlhQJCAIwCBQWwAwgBkAIEBQAIAZUCQgCYAgQFAAgBnAIEBQAIAaECQgCkAgsDAAAAAAAAAAAIAqgCCwMAAAAAAAAAAAgBrAILAwAAAAAAAAAACAGwAhUFtAMNuAMVvAMdwAMlxAMtyAM1zAO0AgcN0AMV1QNTuAILAwAAAAAAAAAACAS8AgYF2QNTCATAAgYF2QNTCATEAgUEAwXcA84CM0FsdHVhLk9hay5Db3JlLlRoZW1pbmcuQ29sb3JQb2ludGVyLCBBbHR1YS5PYWsuQ29yZckCU1BQUP/RAlNQUFD/2gJIQWx0dWEuT2FrLkNvcmUuU3ludGF4U3RydWN0dXJlLlBsb3RTZXJpZXNCaW5kaW5nU3RyYXRlZ3ksIEFsdHVhLk9hay5Db3Jl1QJWANwCAgEA4AIYAQvgA+QD6APsA/AD9AP4A/wDgASEBIgE5AIEAQGMBOgCCAEDkASUBJgE7AIIAQOcBKAEpATwAgQBAagE9AICAQD4AgIBAPwCFAEJrASwBLQEuAS8BMAExATIBMwEgAMCAQCEAxYBCtAE1ATYBNwE4ATkBOgE7ATwBPQEiAMaAQz4BPwEgAWEBYgFjAWQBZQFmAWcBaAFpAWMAwIBAJADBgECqAWsBZQDCAEDsAW0BbgFmAMCAQCcAwQBAbwFoAMCAQCkAxABB8AFxAXIBcwF0AXUBdgFqAMCAQCsAwUEAwXcBbADBQQDBeAFtAMHBAMEAQAIBLgDBQQBLggEvAMEAAEIBMADBAAACATEAwQEAAgEyAMEBAAIBMwDBAAACATQAwUEAwXkBdUDUz4+5f/ZA1NQUFD/3AMCAQDgAw4F6QW7AQsAAAAAAAAAAOQDDgXxBb0BCwAAAAAAAOA/6AMOBfkFvwELAAAAAAAA4D/sAw4FgQbBAQsAAAAAAADgP/ADDgWJBsMBCwAAAAAAAPg/9AMOBZEGxQELAAAAAAAA4D/4Aw4FmQbHAQsAAAAAAADgP/wDDgWhBskBCwAAAAAAAAAAgAQOBakGywELAAAAAAAAEUCEBA4FsQbLAQsAAAAAAAARQIgEDgW1BssBCwAAAAAAABFAjAQIBbkGwQENvAaQBAcFwQbRAQgBlAQHBckG0QEIAZgEBwXNBtEBCAGcBA4F0QbRAQsAAAAAAAAgQKAEDgXVBtEBCwAAAAAAACBApAQOBdkG0QELAAAAAAAAIECoBA4F3QbYAQsAAAAAAAAAAKwECQXlBtoBDe0GKrAECgXxBsUBDfUG3gG0BAoF/Qa9AQ2BB94BuAQKBYUHvwENiQfeAbwECQWNB+QBDZUHU8AECgWZB8cBDZ0H3gHEBAoFoQfRAQ2lB94ByAQKBakHywENrQfeAcwECQWxB8sBDbUHU9AEBwW5B+8BCQDUBAcFwQfxAQkB2AQHBckH8wEJAdwEBwXRB/UBCQHgBAcF2QfvAQkA5AQHBd0H+AEJAegEBwXlB/oBCQDsBAcF7Qf8AQkA8AQHBfUH+AEJAfQEBwX5B/gBCQH4BAoF/QeAAg2FCIIC/AQKBY0IhAINlQiGAoAFCgWdCO8BDaEIiQKEBQoFqQjxAQ2tCIwCiAUKBbUI8wENrQiMAowFCgW5CPUBDb0IkAKQBQoFxQjvAQ3JCJMClAUKBdEI+AEN1QiWApgFCgXdCJgCDeUIiQKcBQoF6QiYAg3tCJwCoAUKBfUImAIN7QicAqQFCgX5CPgBDf0IlgKoBQoFgQn6AQ2FCaICrAUKBY0JpAINlQmiArAFCgWZCaQCDZ0JqAK0BQoFpQn4AQ2pCagCuAUKBa0J+AENsQmoArwFCgW1CdgBDbkJrwLABQoFwQnvAQ3FCbICxAUKBc0JtAIN1QmyAsgFCgXZCcUBDd0JsgLMBQoFgQn6AQ3hCbIC0AUKBeUJ+AEN6QmyAtQFCgXtCfgBDfEJsgLYBQoF9Qn4AQ35CbIC3AUCAQDgBQYBAf0JwALkBQQBAgEE7gVZQWx0dWEuT2FrLkNvcmUuTW9kaWZpY2F0aW9uLlN0eWxpbmcuVmFsdWVBeGlzR3JpZGxpbmVzQ3VzdG9taXphdGlvblRhcmdldCwgQWx0dWEuT2FrLkNvcmXpBbsBAPYFU0FsdHVhLk9hay5Db3JlLk1vZGlmaWNhdGlvbi5TdHlsaW5nLkNhdGVnb3J5QXhpc0N1c3RvbWl6YXRpb25UYXJnZXQsIEFsdHVhLk9hay5Db3Jl8QW9AQD+BVBBbHR1YS5PYWsuQ29yZS5Nb2RpZmljYXRpb24uU3R5bGluZy5Pcmlnb0xpbmVDdXN0b21pemF0aW9uVGFyZ2V0LCBBbHR1YS5PYWsuQ29yZfkFvwEAhgZdQWx0dWEuT2FrLkNvcmUuTW9kaWZpY2F0aW9uLlN0eWxpbmcuQWxsQ29ubmVjdG9yc0F1eGlsaWFyeUN1c3RvbWl6YXRpb25UYXJnZXQsIEFsdHVhLk9hay5Db3JlgQbBAQCOBllBbHR1YS5PYWsuQ29yZS5Nb2RpZmljYXRpb24uU3R5bGluZy5TZXJpZXNXaXRoUGxvdEtpbmRDdXN0b21pemF0aW9uVGFyZ2V0LCBBbHR1YS5PYWsuQ29yZYkGwwEDBYQKlgZTQWx0dWEuT2FrLkNvcmUuTW9kaWZpY2F0aW9uLlN0eWxpbmcuQWxsVmFsdWVBeGlzQ3VzdG9taXphdGlvblRhcmdldCwgQWx0dWEuT2FrLkNvcmWRBsUBAJ4GW0FsdHVhLk9hay5Db3JlLk1vZGlmaWNhdGlvbi5TdHlsaW5nLkdyaWRsaW5lRm9yRGlyZWN0aW9uQ3VzdG9taXphdGlvblRhcmdldCwgQWx0dWEuT2FrLkNvcmWZBscBAgEApgZWQWx0dWEuT2FrLkNvcmUuTW9kaWZpY2F0aW9uLlN0eWxpbmcuU2luZ2xlVmFsdWVBeGlzQ3VzdG9taXphdGlvblRhcmdldCwgQWx0dWEuT2FrLkNvcmWhBskBFAQSBBCiedtlVaKQRLOioR2c/w1PrgZNQWx0dWEuT2FrLkNvcmUuTW9kaWZpY2F0aW9uLlN0eWxpbmcuU2VyaWVzQ3VzdG9taXphdGlvblRhcmdldCwgQWx0dWEuT2FrLkNvcmWpBssBFAQSBBAwnZNhOiUaQrdFAAjOVZHIsQbLARQEEgQQ3hL/oLfjmVGNga5GutPNVbUGywEUBBIEEI6suUphZgpIneaU6XY3vri5BsEBALwGBQwDBYgKxgZTQWx0dWEuT2FrLkNvcmUuTW9kaWZpY2F0aW9uLlN0eWxpbmcuU2VyaWVzTWFya2VyQ3VzdG9taXphdGlvblRhcmdldCwgQWx0dWEuT2FrLkNvcmXBBtEBFAQSBBDeEv+gt+OZUY2Brka6081VyQbRARQEEgQQMJ2TYTolGkK3RQAIzlWRyM0G0QEUBBIEEI6suUphZgpIneaU6XY3vrjRBtEBFAQSBBAwnZNhOiUaQrdFAAjOVZHI1QbRARQEEgQQ3hL/oLfjmVGNga5GutPNVdkG0QEUBBIEEI6suUphZgpIneaU6XY3vrjiBl5BbHR1YS5PYWsuQ29yZS5Nb2RpZmljYXRpb24uU3R5bGluZy5BbGxDYXRlZ29yeUxhYmVsT2ZMZXZlbEN1c3RvbWl6YXRpb25UYXJnZXQsIEFsdHVhLk9hay5Db3Jl3QbYAQUNjQrEAuoGVkFsdHVhLk9hay5Db3JlLk1vZGlmaWNhdGlvbi5TdHlsaW5nLkFsbFNlcmllc01hcmtlckN1c3RvbWl6YXRpb25UYXJnZXQsIEFsdHVhLk9hay5Db3Jl5QbaAQDtBioEBZUKVvEGxQEA+gY3QWx0dWEuT2FrLkNvcmUuVGhlbWluZy5QYWdlQ29sb3JQb2ludGVyLCBBbHR1YS5PYWsuQ29yZfUG3gEEAAAIAP0GvQEAgQfeAQQAAAgAhQe/AQCJB94BBAAACACSB1NBbHR1YS5PYWsuQ29yZS5Nb2RpZmljYXRpb24uU3R5bGluZy5BbGxHcmlkbGluZXNDdXN0b21pemF0aW9uVGFyZ2V0LCBBbHR1YS5PYWsuQ29yZY0H5AEAlQdTgICA/5kHxwECAQCdB94BBAABCAKhB9EBFAQSBBDeEv+gt+OZUY2Brka6081VpQfeAQQABQgAqQfLARQEEgQQ3hL/oLfjmVGNga5GutPNVa0H3gEEAAUIALEHywEUBBIEEDCdk2E6JRpCt0UACM5Vkci1B1P/oS//vgdYQWx0dWEuT2FrLkNvcmUuTW9kaWZpY2F0aW9uLlN0eWxpbmcuU2VyaWVzTGFiZWxPZlR5cGVDdXN0b21pemF0aW9uVGFyZ2V0LCBBbHR1YS5PYWsuQ29yZbkH7wECAADGB1hBbHR1YS5PYWsuQ29yZS5Nb2RpZmljYXRpb24uU3R5bGluZy5BbGxWYWx1ZUF4aXNMYWJlbEN1c3RvbWl6YXRpb25UYXJnZXQsIEFsdHVhLk9hay5Db3JlwQfxAQDOB1dBbHR1YS5PYWsuQ29yZS5Nb2RpZmljYXRpb24uU3R5bGluZy5BbGxDYXRlZ29yeUxhYmVsQ3VzdG9taXphdGlvblRhcmdldCwgQWx0dWEuT2FrLkNvcmXJB/MBANYHWEFsdHVhLk9hay5Db3JlLk1vZGlmaWNhdGlvbi5TdHlsaW5nLkFsbEF1eGlsaWFyeUxhYmVsQ3VzdG9taXphdGlvblRhcmdldCwgQWx0dWEuT2FrLkNvcmXRB/UBANkH7wECAALiB1JBbHR1YS5PYWsuQ29yZS5Nb2RpZmljYXRpb24uU3R5bGluZy5TZXJpZXNMYWJlbEN1c3RvbWl6YXRpb25UYXJnZXQsIEFsdHVhLk9hay5Db3Jl3Qf4ARYEEgQQ3hL/oLfjmVGNga5GutPNVQgA6gdVQWx0dWEuT2FrLkNvcmUuTW9kaWZpY2F0aW9uLlN0eWxpbmcuVmFsdWVBeGlzTGFiZWxDdXN0b21pemF0aW9uVGFyZ2V0LCBBbHR1YS5PYWsuQ29yZeUH+gEUBBIEEKJ522VVopBEs6KhHZz/DU/yB1pBbHR1YS5PYWsuQ29yZS5Nb2RpZmljYXRpb24uU3R5bGluZy5WYWx1ZUF4aXNUaXRsZUxhYmVsQ3VzdG9taXphdGlvblRhcmdldCwgQWx0dWEuT2FrLkNvcmXtB/wBFAQSBBCiedtlVaKQRLOioR2c/w1P9Qf4ARYEEgQQjqy5SmFmCkid5pTpdje+uAgA+Qf4ARYEEgQQMJ2TYTolGkK3RQAIzlWRyAgAgghYQWx0dWEuT2FrLkNvcmUuTW9kaWZpY2F0aW9uLlN0eWxpbmcuQ2F0ZWdvcnlBeGlzVGl0bGVDdXN0b21pemF0aW9uVGFyZ2V0LCBBbHR1YS5PYWsuQ29yZf0HgAIAighGQWx0dWEuT2FrLkNvcmUuUGxvdHRpbmcuQXhpc1RpdGxlTGFiZWxQbGFjZW1lbnRPdXRzaWRlLCBBbHR1YS5PYWsuQ29yZYUIggICAAGSCF1BbHR1YS5PYWsuQ29yZS5Nb2RpZmljYXRpb24uU3R5bGluZy5BbGxWYWx1ZUF4aXNUaXRsZUxhYmVsQ3VzdG9taXphdGlvblRhcmdldCwgQWx0dWEuT2FrLkNvcmWNCIQCAJoIQkFsdHVhLk9hay5Db3JlLlBsb3R0aW5nLkF4aXNUaXRsZUxhYmVsUGxhY2VtZW50RmFyLCBBbHR1YS5PYWsuQ29yZZUIhgICAACdCO8BAgAApghAQWx0dWEuT2FrLkNvcmUuUGxvdHRpbmcuTGFiZWxQbGFjZW1lbnRQb2ludE91dGVyLCBBbHR1YS5PYWsuQ29yZaEIiQIAqQjxAQCyCEFBbHR1YS5PYWsuQ29yZS5QbG90dGluZy5BeGlzTGFiZWxQbGFjZW1lbnRPdXRzaWRlLCBBbHR1YS5PYWsuQ29yZa0IjAICAQC1CPMBALkI9QEAwghGQWx0dWEuT2FrLkNvcmUuUGxvdHRpbmcuQXV4aWxpYXJ5TGFiZWxQbGFjZW1lbnREZWZhdWx0LCBBbHR1YS5PYWsuQ29yZb0IkAIAxQjvAQIAAs4IQ0FsdHVhLk9hay5Db3JlLlBsb3R0aW5nLkxhYmVsUGxhY2VtZW50U2VyaWVzT3V0c2lkZSwgQWx0dWEuT2FrLkNvcmXJCJMCAgAB0Qj4ARYEEgQQMJ2TYTolGkK3RQAIzlWRyAgA2ghEQWx0dWEuT2FrLkNvcmUuUGxvdHRpbmcuTGFiZWxQbGFjZW1lbnRNYW51YWxSZWxhdGl2ZSwgQWx0dWEuT2FrLkNvcmXVCJYCFAQSAQLQDSzNo+UwwPDcwDqaxCvA4ghVQWx0dWEuT2FrLkNvcmUuTW9kaWZpY2F0aW9uLlN0eWxpbmcuRGF0YVBvaW50TGFiZWxDdXN0b21pemF0aW9uVGFyZ2V0LCBBbHR1YS5PYWsuQ29yZd0ImAIqBBIEEDCdk2E6JRpCt0UACM5VkcgMEgQQFIE32vxjZFa6XUIIrNW/8BAA5QiJAgDpCJgCKgQSBBAwnZNhOiUaQrdFAAjOVZHIDBIEEJOAhVOV6KRfokwrGWql5GcQAPIIQEFsdHVhLk9hay5Db3JlLlBsb3R0aW5nLkxhYmVsUGxhY2VtZW50UG9pbnRJbm5lciwgQWx0dWEuT2FrLkNvcmXtCJwCAPUImAIqBBIEEDCdk2E6JRpCt0UACM5VkcgMEgQQrfGRoxqCdV+4daZv8AfmjRAA+Qj4ARYEEgQQjqy5SmFmCkid5pTpdje+uAgA/QiWAhQEEgECgEfMm7mdDECAdoe47/kqwIEJ+gEUBBIEEKJ522VVopBEs6KhHZz/DU+KCUJBbHR1YS5PYWsuQ29yZS5TeW50YXhTdHJ1Y3R1cmUuQWN0dWFsRm9udFNpemVWYWx1ZSwgQWx0dWEuT2FrLkNvcmWFCaICCQMAAAAAAAAqQJIJUEFsdHVhLk9hay5Db3JlLk1vZGlmaWNhdGlvbi5TdHlsaW5nLkFsbExhYmVsc0N1c3RvbWl6YXRpb25UYXJnZXQsIEFsdHVhLk9hay5Db3JljQmkAgCVCaICCQMAAAAAAAAoQJkJpAIAoglDQWx0dWEuT2FrLkNvcmUuU3ludGF4U3RydWN0dXJlLkFjdHVhbEZvbnRDb2xvclZhbHVlLCBBbHR1YS5PYWsuQ29yZZ0JqAIFBZkKxwKlCfgBFgQSBBDeEv+gt+OZUY2Brka6081VCACpCagCBQWhCt4BrQn4ARYEEgQQMJ2TYTolGkK3RQAIzlWRyAgAsQmoAgQFpQpTtQnYAQUNqQrEAr4JQ0FsdHVhLk9hay5Db3JlLlN5bnRheFN0cnVjdHVyZS5BY3R1YWxGb250U3R5bGVWYWx1ZSwgQWx0dWEuT2FrLkNvcmW5Ca8CAgAAwQnvAQIAAMoJRkFsdHVhLk9hay5Db3JlLlN5bnRheFN0cnVjdHVyZS5BY3R1YWxOdW1iZXJGb3JtYXRWYWx1ZSwgQWx0dWEuT2FrLkNvcmXFCbICBQWtCswC0glVQWx0dWEuT2FrLkNvcmUuTW9kaWZpY2F0aW9uLlN0eWxpbmcuQWxsVG90YWxMYWJlbHNDdXN0b21pemF0aW9uVGFyZ2V0LCBBbHR1YS5PYWsuQ29yZc0JtAIA1QmyAgUFrQrMAtkJxQEA3QmyAgUFrQrMAuEJsgIFBbUKzALlCfgBFgQSBBDeEv+gt+OZUY2Brka6081VCADpCbICBQW1CswC7Qn4ARYEEgQQMJ2TYTolGkK3RQAIzlWRyAgA8QmyAgUFtQrMAvUJ+AEWBBIEEI6suUphZgpIneaU6XY3vrgIAPkJsgIFBbkKzAKCCi9BbHR1YS5EYXRhLkluZnJhc3RydWN0dXJlLlBhcmFncmFwaCwgQWx0dWEuRGF0Yf0JwAIFDAMFvAqECgEFiAoKAQIAAIBAAABAQJIKOUFsdHVhLk9hay5Db3JlLlBsb3R0aW5nLkNhdGVnb3J5QXhpc0xldmVsLCBBbHR1YS5PYWsuQ29yZY0KxAIAlQpWAJ4KP0FsdHVhLk9hay5Db3JlLlRoZW1pbmcuSGlnaENvbnRyYXN0Q29sb3JQb2ludGVyLCBBbHR1YS5PYWsuQ29yZZkKxwIAoQreAQQAAAgApQpTpFoA/6kKxAIAsgo9QWx0dWEuRGF0YS5OdW1iZXJGb3JtYXR0aW5nLkNvbXBvc2l0ZU51bWJlckZvcm1hdCwgQWx0dWEuRGF0Ya0KzAIKHcAKJcQKNVA9ALUKzAILHcgKJcwKNdAKPQC5CswCCx3UCiXYCjXcCj0AvAoGAQHhCtkCwAoNAPr///8PDAMF6AoRAMQKDQD6////DwwDBewKEQDICgkAAAwDBfAKEQHMCgkAAAwDBfQKEQHQCgoEASwMAS4UAmty1AoJAAAMAwX4ChEB2AoJAAAMAwX8ChEB3AoKBAEsDAEuFAJrcuYKL0FsdHVhLkRhdGEuSW5mcmFzdHJ1Y3R1cmUuTnVtYmVyUnVuLCBBbHR1YS5EYXRh4QrZAhMEDgMAAAAAAJyfQB2BC8wCDYQL6AoGAQGJC+MC7AoKAQKRC+UCmQvjAvAKBgEBnQvoAvQKCgECpQvlAp0L6AL4CgYBAakL6AL8CgoBAq0L5QKpC+gCgQvMAgsdsAsltAs1uAs9AIQLEgQAHAAkACwANAA8AEwAVABdAI4LQkFsdHVhLkRhdGEuTnVtYmVyRm9ybWF0dGluZy5OdW1iZXJGb3JtYXRHZW5lcmFsU2VnbWVudCwgQWx0dWEuRGF0YYkL4wIAlgs/QWx0dWEuRGF0YS5OdW1iZXJGb3JtYXR0aW5nLk51bWJlckZvcm1hdFRleHRTZWdtZW50LCBBbHR1YS5EYXRhkQvlAgUEAS0JAZkL4wIAogtAQWx0dWEuRGF0YS5OdW1iZXJGb3JtYXR0aW5nLk51bWJlckZvcm1hdFZhbHVlU2VnbWVudCwgQWx0dWEuRGF0YZ0L6AIFBAMFvAulC+UCBQQBLQkBqQvoAgUEAwXAC60L5QIFBAEtCQGwCwkAAAwDBcQLEQC0CwkAAAwDBcgLEQC4CwoEASwMAS4UAmtyvAsSAQTNC/QCzQv0As0L9ALVC/QCwAsSAQTZC/QC2Qv0AtkL9ALdC/QCxAsGAQHhC+gCyAsKAQLlC+UC4QvoAtILOUFsdHVhLkRhdGEuTnVtYmVyRm9ybWF0dGluZy5OdW1iZXJQbGFjZWhvbGRlciwgQWx0dWEuRGF0Yc0L9AIFAgAAAADVC/QCBQIwAAAA2Qv0AgUCAAAAAN0L9AIFAjAAAADhC+gCBQQDBegL5QvlAgUEAS0JAegLBgEB7Qv0Au0L9AIFAjAAAAA="/>
  <p:tag name="GRUNT-SYNC" val="cabd4465c95b4b2caf57828c8d94195c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087487cf-fca3-4cf6-a5f9-b669d50e1c49"/>
  <p:tag name="GRUNT-X-RESOURCES" val="AQIFBAQEAgEA"/>
  <p:tag name="GRUNT-VERSION" val="20.24.1.0"/>
  <p:tag name="GRUNT-VERSION-2" val="2024.1-r2-4069"/>
  <p:tag name="GRUNT-RENDERHASH" val="354b5ee8320b71cc78852c0c1bff1fea-svg"/>
  <p:tag name="GRUNT-X-SHAPEBOUNDS" val="ASIBBAAAAGCCt3FAAAAAYPDqa0AAAAAA//9eQAAAAMD/PzBAAA=="/>
  <p:tag name="GRUNT-X-PAGEOBJECT" val="AQUCswIKPkFsdHVhLk9hay5Db3JlLkRvY3VtZW50TW9kZWwuQ2hhcnRMZWdlbmRPYmplY3QsIEFsdHVhLk9hay5Db3JlBQI5BBIEEM+HdAij/PZMpfm2adUOHEkUEgQQzk73BLYhDUmtx57MnBAQ4i0MNRBEAgUUSABVGQdlIG0kDAQEAgUoEAIFLBQCAQAeUEFsdHVhLk9hay5Db3JlLkRvY3VtZW50TW9kZWwuVGVtcGxhdGluZy5DdXN0b21Qb3NpdGlvbkRlZmluaXRpb24sIEFsdHVhLk9hay5Db3JlGQckBCIBBAhGz1yCt3FA6zBfUPDqa0DQ///z/v9eQDD//8z/PzBAIAsFMAwFbmItTk8VNCQEAQEJASgCAQAsADAKBAEsDAEgFAJrcjQJBAVuYi1OTwgB"/>
  <p:tag name="GRUNT-SYNC" val="188fda50d10a4c91bf14dc9a6786ead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uRkKN0FsdHVhLkRhdGEuRGF0YVNlcnZpY2VzLkVtYmVkZGVkRGF0YVNlcnZpY2UsIEFsdHVhLkRhdGEFAhkEEgQQmLR1a6BUGEuyr6cdSLUuFw0MJREFDAYFGAgSEAcWQUFsdHVhLkRhdGEuRGF0YVNlcnZpY2VzLkVtYmVkZGVkRGF0YVNlcnZpY2VFZGl0b3JEYXRhLCBBbHR1YS5EYXRhEQUEBRwNIBgGBSQNKBUsHDwdBBIEEDT6U+8ysABDl5qhvuJLjIQLAAAAAACAREAdBBIEEB/rjDimIctLiTIXQgTfWDQLAAAAAAAgYkAgPB0EEgQQ6KtOsMwTTUOX+Kgfpyx9GQsAAAAAAAAyQB0EEgQQhB+R4huFNUGwuFZrPUlJDwsAAAAAAAAyQCQEMDQ4PCgDQERILJwELAQoBBIEENqNKxB7T5pMmUYr804v+BwMEgQQX5eQl8Rau0KbEDAGcU7FWQ1MLAQoBBIEEHWemJFcQytHgI2gyx3vlOMMEgQQX5eQl8Rau0KbEDAGcU7FWQ1QLAQoBBIEENqNKxB7T5pMmUYr804v+BwMEgQQNwaj6yos+USg3t9WLMyT6Q1ULAQoBBIEEDN2LlbKrM9DuJ/41/dD8iIMEgQQX5eQl8Rau0KbEDAGcU7FWQ1YLAQoBBIEEB/rjDimIctLiTIXQgTfWDQMEgQQX5eQl8Rau0KbEDAGcU7FWQ1cLAQoBBIEENqNKxB7T5pMmUYr804v+BwMEgQQ+SxZ/v3fb0W5/mfTI9KrIw1gLAQoBBIEEHWemJFcQytHgI2gyx3vlOMMEgQQ+SxZ/v3fb0W5/mfTI9KrIw1kLAQoBBIEEDN2LlbKrM9DuJ/41/dD8iIMEgQQNwaj6yos+USg3t9WLMyT6Q1oLAQoBBIEEHWemJFcQytHgI2gyx3vlOMMEgQQNwaj6yos+USg3t9WLMyT6Q1sLAQoBBIEEB/rjDimIctLiTIXQgTfWDQMEgQQNwaj6yos+USg3t9WLMyT6Q1wLAQoBBIEEB/rjDimIctLiTIXQgTfWDQMEgQQ+SxZ/v3fb0W5/mfTI9KrIw10LAQoBBIEEDN2LlbKrM9DuJ/41/dD8iIMEgQQ+SxZ/v3fb0W5/mfTI9KrIw14MBoEEgQQ2o0rEHtPmkyZRivzTi/4HAwCQzEZATQaBBIEEB/rjDimIctLiTIXQgTfWDQMAkMyGQE4GgQSBBB1npiRXEMrR4CNoMsd75TjDAJDMxkBPBoEEgQQM3YuVsqsz0O4n/jX90PyIgwCQzQZAUAaBBIEEF+XkJfEWrtCmxAwBnFOxVkMAlIxGQFEGgQSBBD5LFn+/d9vRbn+Z9Mj0qsjDAJSMxkBSBoEEgQQNwaj6yos+USg3t9WLMyT6QwCUjUZAUwFDXwVgAFQBQ18FYQBVAYNiAEVjAFYBQ18FZABXAUNfBWUAWAFDXwVmAFkBQ18FZwBaAYNiAEVoAFsBg2IARWkAXAGDYgBFagBdAUNfBWsAXgFDXwVsAF8AgQAgAEFBAMFtAGEAQUEAwW4AYgBAgQAjAEFBAMFvAGQAQUEAwXAAZQBBQQDBcQBmAEFBAMFyAGcAQUEAwXMAaABBQQDBdABpAEFBAMF1AGoAQUEAwXYAawBBQQDBdwBsAEFBAMF4AG0AQIBALgBBQEB5QE6vAEFAQHtATrAAQUBAfEBOsQBBQEB9QE6yAEFAQH5ATrMAQUBAf0BOtABBQEBgQI61AEFAQGFAjrYAQUBAYkCOtwBBQEBjQI64AEFAQGRAjrqAS9BbHR1YS5EYXRhLkluZnJhc3RydWN0dXJlLlBhcmFncmFwaCwgQWx0dWEuRGF0YeUBOgUMAwWUAu0BOgUMAwWYAvEBOgUMAwWcAvUBOgUMAwWgAvkBOgUMAwWkAv0BOgUMAwWoAoECOgUMAwWsAoUCOgUMAwWwAokCOgUMAwW0Ao0COgUMAwW4ApECOgUMAwW8ApQCBQEBwQJRmAIFAQHJAlOcAgUBAdECUaACBQEB1QJRpAIFAQHZAlOoAgUBAd0CU6wCBQEB4QJTsAIFAQHlAlO0AgUBAekCU7gCBQEB7QJTvAIFAQHxAlPGAi1BbHR1YS5EYXRhLkluZnJhc3RydWN0dXJlLlRleHRSdW4sIEFsdHVhLkRhdGHBAlESBA01LjAwMOKAkzkuOTk5DfQCzgIvQWx0dWEuRGF0YS5JbmZyYXN0cnVjdHVyZS5OdW1iZXJSdW4sIEFsdHVhLkRhdGHJAlMSBA0DAAAAAACcn0Ad+QJfDYAD0QJRFwQSMTAuMDAwIGVsbGVyIGZsZXJlDYQD1QJREAQLVW5kZXIgNS4wMDANiAPZAlMSBA0DAAAAAACgn0AdjQNfDZAD3QJTEgQNAwAAAAAAADxAHZUDXw2YA+ECUxIEDQMAAAAAAEBRQB2dA18NoAPlAlMSBA0DAAAAAAAAQkAdpQNfDagD6QJTEgQNAwAAAAAAADVAHa0DXw2wA+0CUxIEDQMAAAAAAAA1QB21A18NuAPxAlMSBA0DAAAAAADAUUAdvQNfDcAD9AISBAAcACQALAA0ADwATABUAF0A/gI9QWx0dWEuRGF0YS5OdW1iZXJGb3JtYXR0aW5nLkNvbXBvc2l0ZU51bWJlckZvcm1hdCwgQWx0dWEuRGF0YfkCXwsdxAMlyAM1zAM9AIADEgQAHAAkACwANAA8AEwAVABdAIQDEgQAHAAkACwANAA8AEwAVABdAIgDEgQAHAAkACwANAA8AEwAVABdAI0DXwsd0AMl1AM12AM9AJADEgQAHAAkACwANAA8AEwAVABdAJUDXwsd3AMl4AM15AM9AJgDEgQAHAAkACwANAA8AEwAVABdAJ0DXwsd6AMl7AM18AM9AKADEgQAHAAkACwANAA8AEwAVABdAKUDXwsd9AMl+AM1/AM9AKgDEgQAHAAkACwANAA8AEwAVABdAK0DXwsdgAQlhAQ1iAQ9ALADEgQAHAAkACwANAA8AEwAVABdALUDXwsdjAQlkAQ1lAQ9ALgDEgQAHAAkACwANAA8AEwAVABdAL0DXwsdmAQlnAQ1oAQ9AMADEgQAHAAkACwANAA8AEwAVABdAMQDCQAADAMFpAQRAMgDCQAADAMFqAQRAMwDCgQBLAwBLhQCa3LQAwkAAAwDBawEEQDUAwkAAAwDBbAEEQDYAwoEASwMAS4UAmty3AMJAAAMAwW0BBEA4AMJAAAMAwW4BBEA5AMKBAEsDAEuFAJrcugDCQAADAMFvAQRAOwDCQAADAMFwAQRAPADCgQBLAwBLhQCa3L0AwkAAAwDBcQEEQD4AwkAAAwDBcgEEQD8AwoEASwMAS4UAmtygAQJAAAMAwXMBBEAhAQJAAAMAwXQBBEAiAQKBAEsDAEuFAJrcowECQAADAMF1AQRAJAECQAADAMF2AQRAJQECgQBLAwBLhQCa3KYBAkAAAwDBdwEEQCcBAkAAAwDBeAEEQCgBAoEASwMAS4UAmtypAQGAQHlBJoBqAQKAQLtBJwB5QSaAawEBgEB9QSaAbAECgEC+QScAfUEmgG0BAYBAf0EmgG4BAoBAoEFnAH9BJoBvAQGAQGFBZoBwAQKAQKJBZwBhQWaAcQEBgEBjQWaAcgECgECkQWcAY0FmgHMBAYBAZUFmgHQBAoBApkFnAGVBZoB1AQGAQGdBZoB2AQKAQKhBZwBnQWaAdwEBgEBpQWaAeAECgECqQWcAaUFmgHqBEBBbHR1YS5EYXRhLk51bWJlckZvcm1hdHRpbmcuTnVtYmVyRm9ybWF0VmFsdWVTZWdtZW50LCBBbHR1YS5EYXRh5QSaAQUEAwWsBfIEP0FsdHVhLkRhdGEuTnVtYmVyRm9ybWF0dGluZy5OdW1iZXJGb3JtYXRUZXh0U2VnbWVudCwgQWx0dWEuRGF0Ye0EnAEFBAEtCQH1BJoBBQQDBbAF+QScAQUEAS0JAf0EmgEFBAMFtAWBBZwBBQQBLQkBhQWaAQUEAwW4BYkFnAEFBAEtCQGNBZoBBQQDBbwFkQWcAQUEAS0JAZUFmgEFBAMFwAWZBZwBBQQBLQkBnQWaAQUEAwXEBaEFnAEFBAEtCQGlBZoBBQQDBcgFqQWcAQUEAS0JAawFBgEBzQW0AbAFBgEB1QW0AbQFBgEB2QW0AbgFBgEB2QW0AbwFBgEB2QW0AcAFBgEB2QW0AcQFBgEB2QW0AcgFBgEB2QW0AdIFOUFsdHVhLkRhdGEuTnVtYmVyRm9ybWF0dGluZy5OdW1iZXJQbGFjZWhvbGRlciwgQWx0dWEuRGF0Yc0FtAEFAjAAAADVBbQBBQIwAAAA2QW0AQUCMAAAAA=="/>
  <p:tag name="GRUNT-RENDERHASH" val="f233fd8bac802598ab52fa927576be46-svg"/>
  <p:tag name="GRUNT-X-SHAPEBOUNDS" val="ASIBBAAAAIDaW4RAAAAAIFzNbUAAAAAANYFvQAAAACA2ZmpAAA=="/>
  <p:tag name="GRUNT-X-PAGEOBJECT" val="AQUC7j8KOEFsdHVhLk9hay5Db3JlLkRvY3VtZW50TW9kZWwuQ2hhcnRPYmplY3QsIEFsdHVhLk9hay5Db3JlBQI1BBIEEFIGm9b4xttKrW3/h6kUz8oMEgQQmLR1a6BUGEuyr6cdSLUuFxUNBCUUNRg9HFUgZSQSUEFsdHVhLk9hay5Db3JlLkRvY3VtZW50TW9kZWwuVGVtcGxhdGluZy5DdXN0b21Qb3NpdGlvbkRlZmluaXRpb24sIEFsdHVhLk9hay5Db3JlDQQkBCIBBKW+bojabIRAp9UT5qIbcEBsBUUONfluQC4P5OGy4mNAFBMVKB0sNTA4AEU1DlU8XUBkAgVEGAQEAgVIHAIFTCALBVAMBW5iLU5PFVQkEAEBCQERARkBIQEpATEBOQAoFgQSBBAAAAAAAAAAAAAAAAAAAAAACAEsFgQSBBAAAAAAAAAAAAAAAAAAAAAACAEwADo3QWx0dWEuT2FrLkNvcmUuQ2hhcnQuTGluZVBsb3REZWZpbml0aW9uLCBBbHR1YS5PYWsuQ29yZTUORgAACAQlWDwSBBA1qWYxl0Y2RaVCLWZ3GXrVRAIFXFVgWQFzAAAAAAAA8D98AgVkhQFpG5EBAJ0BcKUBdR6pAQC1AXy5AQA8BQWAAQ0AQAQBAAkARAgBA4QBiAGMAUgCAQBMAFAKBAEsDAEgFAJrclQJBAVuYi1OTwgBWA0AAAgBFAMFkAEcACUAXAIBAGAmBCIBBAAAAAAAABBAAAAAAAAAEEAAAAAAAAAQQAAAAAAAABBACARkBAEBlAFuRUFsdHVhLk9hay5Db3JlLlBsb3R0aW5nLkF1dG9tYXRpY0NhdGVnb3J5QXhpc1NldHRpbmdzLCBBbHR1YS5PYWsuQ29yZWkbEwEBDZgBEAAZATAAPZwBRaABSAFwBgWlASoIAno9QWx0dWEuT2FrLkNvcmUuVGhlbWluZy5QYWdlQ29sb3JTY2hlbWVQb2ludGVyLCBBbHR1YS5PYWsuQ29yZXUeAHxKNawBPbABRbQBVbgBXbwBdcABjQHEAZ0ByAGlAcwBrQHQAc0B1AHVAdgB3QHcAeUB4AHtAeQB9QHoAf0B7AGFAvABjQL0AZUC+AGAAQCEAUgEEgQQ3hL/oLfjmVGNga5GutPNVQwSBBAWZgSlZeceR4MB9CRv7XaNFfwBHBIEEPksWf79329Fuf5n0yPSqyMkAC2AAjWFAkKIAUgEEgQQMJ2TYTolGkK3RQAIzlWRyAwSBBAWZgSlZeceR4MB9CRv7XaNFYwCHBIEEDcGo+sqLPlEoN7fVizMk+kkAC2QAjWVAkKMAUgEEgQQ1tCb75i9G02kzyUuWhp2JgwSBBAWZgSlZeceR4MB9CRv7XaNFZgCHBIEEOirTrDME01Dl/ioH6csfRkkAC2cAjWhAkKQAQIBAJQBQgEBGAMlpAIpADEAQABIAlWoAl2sAmQSBBAWZgSlZeceR4MB9CRv7XaNbbACdbQCjQG4ApEBAZ0BvAKlAcACtQHEApgBAgEAnAEGBckCUwgEoAEGBdECUwgEqgE6QWx0dWEuT2FrLkNvcmUuVGhlbWluZy5CaW5kaW5nQ29sb3JQb2ludGVyLCBBbHR1YS5PYWsuQ29yZaUBKgQF1QJWrAEFBAMF3AKwAQUEAwXgArQBBQQDBeQCuAEFBAMF6AK8AQUEAwXsAsABBQQDBfACxAEFBAMF9ALIAQUEAwX4AswBBQQDBfwC0AEFBAMFgAPUAQUEAwWEA9gBBQQDBYgD3AEFBAMFjAPgAQUEAwWQA+QBBQQDBZQD6AEFBAMFmAPsAQUEAwWcA/ABBQQDBaAD9AEFBAMFpAP4AQUEAwWoA/wBBQWsAwgBgAIEBQAIAYoCPkFsdHVhLk9hay5Db3JlLkNoYXJ0LkRlZmF1bHRQbG90U2VyaWVzU2V0dGluZ3MsIEFsdHVhLk9hay5Db3JlhQJCAIwCBQWwAwgBkAIEBQAIAZUCQgCYAgQFAAgBnAIEBQAIAaECQgCkAgsDAAAAAAAAAAAIAqgCCwMAAAAAAAAAAAgBrAILAwAAAAAAAAAACAGwAhUFtAMNuAMVvAMdwAMlxAMtyAM1zAO0AgcN0AMV1QNTuAILAwAAAAAAAAAACAS8AgYF2QNTCATAAgYF2QNTCATEAgUEAwXcA84CM0FsdHVhLk9hay5Db3JlLlRoZW1pbmcuQ29sb3JQb2ludGVyLCBBbHR1YS5PYWsuQ29yZckCU1BQUP/RAlNQUFD/2gJIQWx0dWEuT2FrLkNvcmUuU3ludGF4U3RydWN0dXJlLlBsb3RTZXJpZXNCaW5kaW5nU3RyYXRlZ3ksIEFsdHVhLk9hay5Db3Jl1QJWANwCAgEA4AIWAQrgA+QD6APsA/AD9AP4A/wDgASEBOQCBAEBiAToAgYBAowEkATsAgYBApQEmATwAgQBAZwE9AICAQD4AgIBAPwCFAEJoASkBKgErASwBLQEuAS8BMAEgAMCAQCEAxQBCcQEyATMBNAE1ATYBNwE4ATkBIgDFgEK6ATsBPAE9AT4BPwEgAWEBYgFjAWMAwIBAJADBgECkAWUBZQDCAEDmAWcBaAFmAMCAQCcAwQBAaQFoAMCAQCkAw4BBqgFrAWwBbQFuAW8BagDAgEArAMFBAMFwAWwAwUEAwXEBbQDBwQDBAEACAS4AwUEAS4IBLwDBAABCATAAwQAAAgExAMEBAAIBMgDBAQACATMAwQAAAgE0AMFBAMFyAXVA1M+PuX/2QNTUFBQ/9wDAgEA4AMOBc0FtAELAAAAAAAAAADkAw4F1QW2AQsAAAAAAADgP+gDDgXdBbgBCwAAAAAAAOA/7AMOBeUFugELAAAAAAAA4D/wAw4F7QW8AQsAAAAAAAD4P/QDDgX1Bb4BCwAAAAAAAOA/+AMOBf0FwAELAAAAAAAA4D/8Aw4FhQbCAQsAAAAAAAAAAIAEDgWNBsQBCwAAAAAAABFAhAQOBZUGxAELAAAAAAAAEUCIBAgFmQa6AQ2cBowEBwWhBskBCAGQBAcFqQbJAQgBlAQOBa0GyQELAAAAAAAAIECYBA4FsQbJAQsAAAAAAAAgQJwEDgW1Bs4BCwAAAAAAAAAAoAQJBb0G0AENxQYqpAQKBckGvgENzQbUAagECgXVBrYBDdkG1AGsBAoF3Qa4AQ3hBtQBsAQJBeUG2gEN7QZTtAQKBfEGwAEN9QbUAbgECgX5BskBDf0G1AG8BAoFgQfEAQ2FB9QBwAQJBYkHxAENjQdTxAQHBZEH5QEJAMgEBwWZB+cBCQHMBAcFoQfpAQkB0AQHBakH6wEJAdQEBwWxB+UBCQDYBAcFtQfuAQkB3AQHBb0H7gEJAeAEBwXBB/EBCQDkBAcFyQfzAQkA6AQKBdEH9QEN2Qf3AewECgXhB/kBDekH+wHwBAoF8QflAQ31B/4B9AQKBf0H5wENgQiBAvgECgWJCOkBDYEIgQL8BAoFjQjrAQ2RCIUCgAUKBZkI5QENnQiIAoQFCgWlCO4BDakI/gGIBQoFrQiMAg21CI4CjAUKBb0IjAINtQiOApAFCgXBCPEBDcUIkgKUBQoFzQiUAg3VCJICmAUKBdkIlAIN3QiYApwFCgXlCO4BDekImAKgBQoF7QjuAQ3xCJgCpAUKBfUIzgEN+QifAqgFCgWBCeUBDYUJogKsBQoFjQmkAg2VCaICsAUKBZkJvgENnQmiArQFCgWhCfEBDaUJogK4BQoFqQnuAQ2tCaICvAUKBbEJ7gENtQmiAsAFBgEBuQmvAsQFBgEBwQmvAsgFBAECAQTSBVlBbHR1YS5PYWsuQ29yZS5Nb2RpZmljYXRpb24uU3R5bGluZy5WYWx1ZUF4aXNHcmlkbGluZXNDdXN0b21pemF0aW9uVGFyZ2V0LCBBbHR1YS5PYWsuQ29yZc0FtAEA2gVTQWx0dWEuT2FrLkNvcmUuTW9kaWZpY2F0aW9uLlN0eWxpbmcuQ2F0ZWdvcnlBeGlzQ3VzdG9taXphdGlvblRhcmdldCwgQWx0dWEuT2FrLkNvcmXVBbYBAOIFUEFsdHVhLk9hay5Db3JlLk1vZGlmaWNhdGlvbi5TdHlsaW5nLk9yaWdvTGluZUN1c3RvbWl6YXRpb25UYXJnZXQsIEFsdHVhLk9hay5Db3Jl3QW4AQDqBV1BbHR1YS5PYWsuQ29yZS5Nb2RpZmljYXRpb24uU3R5bGluZy5BbGxDb25uZWN0b3JzQXV4aWxpYXJ5Q3VzdG9taXphdGlvblRhcmdldCwgQWx0dWEuT2FrLkNvcmXlBboBAPIFWUFsdHVhLk9hay5Db3JlLk1vZGlmaWNhdGlvbi5TdHlsaW5nLlNlcmllc1dpdGhQbG90S2luZEN1c3RvbWl6YXRpb25UYXJnZXQsIEFsdHVhLk9hay5Db3Jl7QW8AQMFxAn6BVNBbHR1YS5PYWsuQ29yZS5Nb2RpZmljYXRpb24uU3R5bGluZy5BbGxWYWx1ZUF4aXNDdXN0b21pemF0aW9uVGFyZ2V0LCBBbHR1YS5PYWsuQ29yZfUFvgEAggZbQWx0dWEuT2FrLkNvcmUuTW9kaWZpY2F0aW9uLlN0eWxpbmcuR3JpZGxpbmVGb3JEaXJlY3Rpb25DdXN0b21pemF0aW9uVGFyZ2V0LCBBbHR1YS5PYWsuQ29yZf0FwAECAQCKBlZBbHR1YS5PYWsuQ29yZS5Nb2RpZmljYXRpb24uU3R5bGluZy5TaW5nbGVWYWx1ZUF4aXNDdXN0b21pemF0aW9uVGFyZ2V0LCBBbHR1YS5PYWsuQ29yZYUGwgEUBBIEEBZmBKVl5x5HgwH0JG/tdo2SBk1BbHR1YS5PYWsuQ29yZS5Nb2RpZmljYXRpb24uU3R5bGluZy5TZXJpZXNDdXN0b21pemF0aW9uVGFyZ2V0LCBBbHR1YS5PYWsuQ29yZY0GxAEUBBIEEDCdk2E6JRpCt0UACM5VkciVBsQBFAQSBBDeEv+gt+OZUY2Brka6081VmQa6AQCcBgUMAwXICaYGU0FsdHVhLk9hay5Db3JlLk1vZGlmaWNhdGlvbi5TdHlsaW5nLlNlcmllc01hcmtlckN1c3RvbWl6YXRpb25UYXJnZXQsIEFsdHVhLk9hay5Db3JloQbJARQEEgQQ3hL/oLfjmVGNga5GutPNVakGyQEUBBIEEDCdk2E6JRpCt0UACM5VkcitBskBFAQSBBAwnZNhOiUaQrdFAAjOVZHIsQbJARQEEgQQ3hL/oLfjmVGNga5GutPNVboGXkFsdHVhLk9hay5Db3JlLk1vZGlmaWNhdGlvbi5TdHlsaW5nLkFsbENhdGVnb3J5TGFiZWxPZkxldmVsQ3VzdG9taXphdGlvblRhcmdldCwgQWx0dWEuT2FrLkNvcmW1Bs4BBQ3NCbQCwgZWQWx0dWEuT2FrLkNvcmUuTW9kaWZpY2F0aW9uLlN0eWxpbmcuQWxsU2VyaWVzTWFya2VyQ3VzdG9taXphdGlvblRhcmdldCwgQWx0dWEuT2FrLkNvcmW9BtABAMUGKgQF1QlWyQa+AQDSBjdBbHR1YS5PYWsuQ29yZS5UaGVtaW5nLlBhZ2VDb2xvclBvaW50ZXIsIEFsdHVhLk9hay5Db3JlzQbUAQQAAAgA1Qa2AQDZBtQBBAAACADdBrgBAOEG1AEEAAAIAOoGU0FsdHVhLk9hay5Db3JlLk1vZGlmaWNhdGlvbi5TdHlsaW5nLkFsbEdyaWRsaW5lc0N1c3RvbWl6YXRpb25UYXJnZXQsIEFsdHVhLk9hay5Db3Jl5QbaAQDtBlOAgID/8QbAAQIBAPUG1AEEAAEIAvkGyQEUBBIEEN4S/6C345lRjYGuRrrTzVX9BtQBBAAFCACBB8QBFAQSBBDeEv+gt+OZUY2Brka6081VhQfUAQQABQgAiQfEARQEEgQQMJ2TYTolGkK3RQAIzlWRyI0HU/+hL/+WB1hBbHR1YS5PYWsuQ29yZS5Nb2RpZmljYXRpb24uU3R5bGluZy5TZXJpZXNMYWJlbE9mVHlwZUN1c3RvbWl6YXRpb25UYXJnZXQsIEFsdHVhLk9hay5Db3JlkQflAQIAAJ4HWEFsdHVhLk9hay5Db3JlLk1vZGlmaWNhdGlvbi5TdHlsaW5nLkFsbFZhbHVlQXhpc0xhYmVsQ3VzdG9taXphdGlvblRhcmdldCwgQWx0dWEuT2FrLkNvcmWZB+cBAKYHV0FsdHVhLk9hay5Db3JlLk1vZGlmaWNhdGlvbi5TdHlsaW5nLkFsbENhdGVnb3J5TGFiZWxDdXN0b21pemF0aW9uVGFyZ2V0LCBBbHR1YS5PYWsuQ29yZaEH6QEArgdYQWx0dWEuT2FrLkNvcmUuTW9kaWZpY2F0aW9uLlN0eWxpbmcuQWxsQXV4aWxpYXJ5TGFiZWxDdXN0b21pemF0aW9uVGFyZ2V0LCBBbHR1YS5PYWsuQ29yZakH6wEAsQflAQIAAroHUkFsdHVhLk9hay5Db3JlLk1vZGlmaWNhdGlvbi5TdHlsaW5nLlNlcmllc0xhYmVsQ3VzdG9taXphdGlvblRhcmdldCwgQWx0dWEuT2FrLkNvcmW1B+4BFgQSBBDeEv+gt+OZUY2Brka6081VCAC9B+4BFgQSBBAwnZNhOiUaQrdFAAjOVZHICADGB1VBbHR1YS5PYWsuQ29yZS5Nb2RpZmljYXRpb24uU3R5bGluZy5WYWx1ZUF4aXNMYWJlbEN1c3RvbWl6YXRpb25UYXJnZXQsIEFsdHVhLk9hay5Db3JlwQfxARQEEgQQFmYEpWXnHkeDAfQkb+12jc4HWkFsdHVhLk9hay5Db3JlLk1vZGlmaWNhdGlvbi5TdHlsaW5nLlZhbHVlQXhpc1RpdGxlTGFiZWxDdXN0b21pemF0aW9uVGFyZ2V0LCBBbHR1YS5PYWsuQ29yZckH8wEUBBIEEBZmBKVl5x5HgwH0JG/tdo3WB1hBbHR1YS5PYWsuQ29yZS5Nb2RpZmljYXRpb24uU3R5bGluZy5DYXRlZ29yeUF4aXNUaXRsZUN1c3RvbWl6YXRpb25UYXJnZXQsIEFsdHVhLk9hay5Db3Jl0Qf1AQDeB0ZBbHR1YS5PYWsuQ29yZS5QbG90dGluZy5BeGlzVGl0bGVMYWJlbFBsYWNlbWVudE91dHNpZGUsIEFsdHVhLk9hay5Db3Jl2Qf3AQIAAeYHXUFsdHVhLk9hay5Db3JlLk1vZGlmaWNhdGlvbi5TdHlsaW5nLkFsbFZhbHVlQXhpc1RpdGxlTGFiZWxDdXN0b21pemF0aW9uVGFyZ2V0LCBBbHR1YS5PYWsuQ29yZeEH+QEA7gdCQWx0dWEuT2FrLkNvcmUuUGxvdHRpbmcuQXhpc1RpdGxlTGFiZWxQbGFjZW1lbnRGYXIsIEFsdHVhLk9hay5Db3Jl6Qf7AQIAAPEH5QECAAD6B0BBbHR1YS5PYWsuQ29yZS5QbG90dGluZy5MYWJlbFBsYWNlbWVudFBvaW50T3V0ZXIsIEFsdHVhLk9hay5Db3Jl9Qf+AQD9B+cBAIYIQUFsdHVhLk9hay5Db3JlLlBsb3R0aW5nLkF4aXNMYWJlbFBsYWNlbWVudE91dHNpZGUsIEFsdHVhLk9hay5Db3JlgQiBAgIBAIkI6QEAjQjrAQCWCEZBbHR1YS5PYWsuQ29yZS5QbG90dGluZy5BdXhpbGlhcnlMYWJlbFBsYWNlbWVudERlZmF1bHQsIEFsdHVhLk9hay5Db3JlkQiFAgCZCOUBAgACoghDQWx0dWEuT2FrLkNvcmUuUGxvdHRpbmcuTGFiZWxQbGFjZW1lbnRTZXJpZXNPdXRzaWRlLCBBbHR1YS5PYWsuQ29yZZ0IiAICAAGlCO4BFgQSBBAwnZNhOiUaQrdFAAjOVZHICACpCP4BALIIVUFsdHVhLk9hay5Db3JlLk1vZGlmaWNhdGlvbi5TdHlsaW5nLkRhdGFQb2ludExhYmVsQ3VzdG9taXphdGlvblRhcmdldCwgQWx0dWEuT2FrLkNvcmWtCIwCKgQSBBAwnZNhOiUaQrdFAAjOVZHIDBIEEBSBN9r8Y2RWul1CCKzVv/AQALoIQEFsdHVhLk9hay5Db3JlLlBsb3R0aW5nLkxhYmVsUGxhY2VtZW50UG9pbnRJbm5lciwgQWx0dWEuT2FrLkNvcmW1CI4CAL0IjAIqBBIEEN4S/6C345lRjYGuRrrTzVUMEgQQrfGRoxqCdV+4daZv8AfmjRAAwQjxARQEEgQQFmYEpWXnHkeDAfQkb+12jcoIQkFsdHVhLk9hay5Db3JlLlN5bnRheFN0cnVjdHVyZS5BY3R1YWxGb250U2l6ZVZhbHVlLCBBbHR1YS5PYWsuQ29yZcUIkgIJAwAAAAAAACpA0ghQQWx0dWEuT2FrLkNvcmUuTW9kaWZpY2F0aW9uLlN0eWxpbmcuQWxsTGFiZWxzQ3VzdG9taXphdGlvblRhcmdldCwgQWx0dWEuT2FrLkNvcmXNCJQCANUIkgIJAwAAAAAAAChA2QiUAgDiCENBbHR1YS5PYWsuQ29yZS5TeW50YXhTdHJ1Y3R1cmUuQWN0dWFsRm9udENvbG9yVmFsdWUsIEFsdHVhLk9hay5Db3Jl3QiYAgUF2Qm3AuUI7gEWBBIEEN4S/6C345lRjYGuRrrTzVUIAOkImAIFBeEJ1AHtCO4BFgQSBBAwnZNhOiUaQrdFAAjOVZHICADxCJgCBAXlCVP1CM4BBQ3pCbQC/ghDQWx0dWEuT2FrLkNvcmUuU3ludGF4U3RydWN0dXJlLkFjdHVhbEZvbnRTdHlsZVZhbHVlLCBBbHR1YS5PYWsuQ29yZfkInwICAACBCeUBAgAAiglGQWx0dWEuT2FrLkNvcmUuU3ludGF4U3RydWN0dXJlLkFjdHVhbE51bWJlckZvcm1hdFZhbHVlLCBBbHR1YS5PYWsuQ29yZYUJogIFBe0JvAKSCVVBbHR1YS5PYWsuQ29yZS5Nb2RpZmljYXRpb24uU3R5bGluZy5BbGxUb3RhbExhYmVsc0N1c3RvbWl6YXRpb25UYXJnZXQsIEFsdHVhLk9hay5Db3JljQmkAgCVCaICBQXtCbwCmQm+AQCdCaICBQXtCbwCoQnxARQEEgQQFmYEpWXnHkeDAfQkb+12jaUJogIFBfUJvAKpCe4BFgQSBBDeEv+gt+OZUY2Brka6081VCACtCaICBQX1CbwCsQnuARYEEgQQMJ2TYTolGkK3RQAIzlWRyAgAtQmiAgUF9Qm8Ar4JL0FsdHVhLkRhdGEuSW5mcmFzdHJ1Y3R1cmUuUGFyYWdyYXBoLCBBbHR1YS5EYXRhuQmvAgUMAwX4CcEJrwIFDAMF/AnECQEFyAkKAQIAAIBAAABAQNIJOUFsdHVhLk9hay5Db3JlLlBsb3R0aW5nLkNhdGVnb3J5QXhpc0xldmVsLCBBbHR1YS5PYWsuQ29yZc0JtAIA1QlWAN4JP0FsdHVhLk9hay5Db3JlLlRoZW1pbmcuSGlnaENvbnRyYXN0Q29sb3JQb2ludGVyLCBBbHR1YS5PYWsuQ29yZdkJtwIA4QnUAQQAAAgA5QlTpFoA/+kJtAIA8gk9QWx0dWEuRGF0YS5OdW1iZXJGb3JtYXR0aW5nLkNvbXBvc2l0ZU51bWJlckZvcm1hdCwgQWx0dWEuRGF0Ye0JvAIKHYAKJYQKNVA9APUJvAILHYgKJYwKNZAKPQD4CQYBAZUKxgL8CQYBAZ0KxgKACg0A+v///w8MAwWgChEAhAoNAPr///8PDAMFpAoRAIgKCQAADAMFqAoRAYwKCQAADAMFrAoRAZAKCgQBLAwBLhQCa3KaCi9BbHR1YS5EYXRhLkluZnJhc3RydWN0dXJlLk51bWJlclJ1biwgQWx0dWEuRGF0YZUKxgITBA4DAAAAAACgn0AdsQq8Ag20Cp0KxgITBA4DAAAAAACcn0AduQq8Ag28CqAKBgEBwQrRAqQKCgECyQrTAtEK0QKoCgYBAdUK1gKsCgoBAt0K0wLVCtYCsQq8Agsd4Aol5Ao16Ao9ALQKEgQAHAAkACwANAA8AEwAVABdALkKvAILHewKJfAKNfQKPQC8ChIEABwAJAAsADQAPABMAFQAXQDGCkJBbHR1YS5EYXRhLk51bWJlckZvcm1hdHRpbmcuTnVtYmVyRm9ybWF0R2VuZXJhbFNlZ21lbnQsIEFsdHVhLkRhdGHBCtECAM4KP0FsdHVhLkRhdGEuTnVtYmVyRm9ybWF0dGluZy5OdW1iZXJGb3JtYXRUZXh0U2VnbWVudCwgQWx0dWEuRGF0YckK0wIFBAEtCQHRCtECANoKQEFsdHVhLkRhdGEuTnVtYmVyRm9ybWF0dGluZy5OdW1iZXJGb3JtYXRWYWx1ZVNlZ21lbnQsIEFsdHVhLkRhdGHVCtYCBQQDBfgK3QrTAgUEAS0JAeAKCQAADAMF/AoRAOQKCQAADAMFgAsRAOgKCgQBLAwBLhQCa3LsCgkAAAwDBYQLEQDwCgkAAAwDBYgLEQD0CgoEASwMAS4UAmty+AoSAQSNC+QCjQvkAo0L5AKVC+QC/AoGAQGZC9YCgAsKAQKdC9MCmQvWAoQLBgEBoQvWAogLCgECpQvTAqEL1gKSCzlBbHR1YS5EYXRhLk51bWJlckZvcm1hdHRpbmcuTnVtYmVyUGxhY2Vob2xkZXIsIEFsdHVhLkRhdGGNC+QCBQIAAAAAlQvkAgUCMAAAAJkL1gIFBAMFqAudC9MCBQQBLQkBoQvWAgUEAwWsC6UL0wIFBAEtCQGoCwYBAbEL5AKsCwYBAbUL5AKxC+QCBQIwAAAAtQvkAgUCMAAAAA=="/>
  <p:tag name="GRUNT-SYNC" val="f7b00cc920f8412ebe1de2d5546af87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087487cf-fca3-4cf6-a5f9-b669d50e1c49"/>
  <p:tag name="GRUNT-X-RESOURCES" val="AQIFBAQEAgEA"/>
  <p:tag name="GRUNT-VERSION" val="20.24.1.0"/>
  <p:tag name="GRUNT-VERSION-2" val="2024.1-r2-4069"/>
  <p:tag name="GRUNT-RENDERHASH" val="3d8135286e5769aef4d87e076b109364-svg"/>
  <p:tag name="GRUNT-X-SHAPEBOUNDS" val="ASIBBAAAAIDabIRAAAAAYPDqa0AAAAAA//9eQAAAAMD/PzBAAA=="/>
  <p:tag name="GRUNT-X-PAGEOBJECT" val="AQUCswIKPkFsdHVhLk9hay5Db3JlLkRvY3VtZW50TW9kZWwuQ2hhcnRMZWdlbmRPYmplY3QsIEFsdHVhLk9hay5Db3JlBQI5BBIEEHaZvpAXMNJIjXQrPrQmNp8UEgQQzk73BLYhDUmtx57MnBAQ4i0MNRBEAgUUSABVGQdlIG0kDAQEAgUoEAIFLBQCAQAeUEFsdHVhLk9hay5Db3JlLkRvY3VtZW50TW9kZWwuVGVtcGxhdGluZy5DdXN0b21Qb3NpdGlvbkRlZmluaXRpb24sIEFsdHVhLk9hay5Db3JlGQckBCIBBKW+bojabIRA6zBfUPDqa0DQ///z/v9eQDD//8z/PzBAIAsFMAwFbmItTk8VNCQEAQEJASgCAQAsADAKBAEsDAEgFAJrcjQJBAVuYi1OTwgB"/>
  <p:tag name="GRUNT-SYNC" val="09c35f13c9c44b86afcfbeb7fd315e8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1895e0e5-ff47-40a2-9daf-1d3fe51e565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lxQKN0FsdHVhLkRhdGEuRGF0YVNlcnZpY2VzLkVtYmVkZGVkRGF0YVNlcnZpY2UsIEFsdHVhLkRhdGEFAhkEEgQQqr8Ghxj3tE2QnsgznH+Xaw0MJREFDAYFGAgNEAUWQUFsdHVhLkRhdGEuRGF0YVNlcnZpY2VzLkVtYmVkZGVkRGF0YVNlcnZpY2VFZGl0b3JEYXRhLCBBbHR1YS5EYXRhEQUEBRwNIBgGBSQNKBUsHDwdBBIEEFmfYeZYkT9IhCqevPceZUYLAAAAAACAWkAdBBIEEB/rjDimIctLiTIXQgTfWDQLAAAAAACAY0AgHh0EEgQQhB+R4huFNUGwuFZrPUlJDwsAAAAAAAAyQCQDMDQ4KAM8QEQslQMsBCgEEgQQ2o0rEHtPmkyZRivzTi/4HAwSBBBfl5CXxFq7QpsQMAZxTsVZDUgsBCgEEgQQdZ6YkVxDK0eAjaDLHe+U4wwSBBBfl5CXxFq7QpsQMAZxTsVZDUwsBCgEEgQQH+uMOKYhy0uJMhdCBN9YNAwSBBDo3BoVsgn8R5B6Qsv8cWBbDVAsBCgEEgQQH+uMOKYhy0uJMhdCBN9YNAwSBBBfl5CXxFq7QpsQMAZxTsVZDVQsBCgEEgQQ2o0rEHtPmkyZRivzTi/4HAwSBBD5LFn+/d9vRbn+Z9Mj0qsjDVgsBCgEEgQQdZ6YkVxDK0eAjaDLHe+U4wwSBBD5LFn+/d9vRbn+Z9Mj0qsjDVwsBCgEEgQQ2o0rEHtPmkyZRivzTi/4HAwSBBDo3BoVsgn8R5B6Qsv8cWBbDWAsBCgEEgQQH+uMOKYhy0uJMhdCBN9YNAwSBBD5LFn+/d9vRbn+Z9Mj0qsjDWQsBCgEEgQQdZ6YkVxDK0eAjaDLHe+U4wwSBBDo3BoVsgn8R5B6Qsv8cWBbDWgwGgQSBBDajSsQe0+aTJlGK/NOL/gcDAJDMRkBNBoEEgQQH+uMOKYhy0uJMhdCBN9YNAwCQzIZATgaBBIEEHWemJFcQytHgI2gyx3vlOMMAkMzGQE8GgQSBBBfl5CXxFq7QpsQMAZxTsVZDAJSMRkBQBoEEgQQ6NwaFbIJ/EeQekLL/HFgWwwCUjIZAUQaBBIEEPksWf79329Fuf5n0yPSqyMMAlIzGQFIBA1sFXBMBA1sFXRQBA1sFXhUBA1sFXxYBQ1sFYABXAUNbBWEAWAFDWwViAFkBQ1sFYwBaAUNbBWQAWwCBABwBQQDBZQBdAUEAwWYAXgFBAMFnAF8BQQDBaABgAEFBAMFpAGEAQUEAwWoAYgBBQQDBawBjAEFBAMFsAGQAQUEAwW0AZQBAgEAmAEFAQG5AS+cAQUBAcEBL6ABBQEBxQEvpAEFAQHJAS+oAQUBAc0BL6wBBQEB0QEvsAEFAQHVAS+0AQUBAdkBL74BL0FsdHVhLkRhdGEuSW5mcmFzdHJ1Y3R1cmUuUGFyYWdyYXBoLCBBbHR1YS5EYXRhuQEvBQwDBdwBwQEvBQwDBeABxQEvBQwDBeQByQEvBQwDBegBzQEvBQwDBewB0QEvBQwDBfAB1QEvBQwDBfQB2QEvBQwDBfgB3AEFAQH9AUDgAQUBAYUCQuQBBQEBjQJA6AEFAQGRAkLsAQUBAZUCQvABBQEBmQJC9AEFAQGdAkL4AQUBAaECQoICLUFsdHVhLkRhdGEuSW5mcmFzdHJ1Y3R1cmUuVGV4dFJ1biwgQWx0dWEuRGF0Yf0BQBEEDE5laS9WZXQgaWtrZQ2kAooCL0FsdHVhLkRhdGEuSW5mcmFzdHJ1Y3R1cmUuTnVtYmVyUnVuLCBBbHR1YS5EYXRhhQJCEgQNAwAAAAAAAFFAHakCSw2wAo0CQCwEJ0hhciBnam9ydCBvZyBlbGxlciBwbGFubGVnZ2VyIGVuZHJpbmdlcg20ApECQhIEDQMAAAAAAKCfQB25AksNvAKVAkISBA0DAAAAAAAAQ0AdwQJLDcQCmQJCEgQNAwAAAAAAnJ9AHckCSw3MAp0CQhIEDQMAAAAAAABPQB3RAksN1AKhAkISBA0DAAAAAAAAQEAd2QJLDdwCpAISBAAcACQALAA0ADwATABUAF0ArgI9QWx0dWEuRGF0YS5OdW1iZXJGb3JtYXR0aW5nLkNvbXBvc2l0ZU51bWJlckZvcm1hdCwgQWx0dWEuRGF0YakCSwsd4AIl5AI16AI9ALACEgQAHAAkACwANAA8AEwAVABdALQCEgQAHAAkACwANAA8AEwAVABdALkCSwsd7AIl8AI19AI9ALwCEgQAHAAkACwANAA8AEwAVABdAMECSwsd+AIl/AI1gAM9AMQCEgQAHAAkACwANAA8AEwAVABdAMkCSwsdhAMliAM1jAM9AMwCEgQAHAAkACwANAA8AEwAVABdANECSwsdkAMllAM1mAM9ANQCEgQAHAAkACwANAA8AEwAVABdANkCSwsdnAMloAM1pAM9ANwCEgQAHAAkACwANAA8AEwAVABdAOACCQAADAMFqAMRAOQCCQAADAMFrAMRAOgCCgQBLAwBLhQCa3LsAgkAAAwDBbADEQDwAgkAAAwDBbQDEQD0AgoEASwMAS4UAmty+AIJAAAMAwW4AxEA/AIJAAAMAwW8AxEAgAMKBAEsDAEuFAJrcoQDCQAADAMFwAMRAIgDCQAADAMFxAMRAIwDCgQBLAwBLhQCa3KQAwkAAAwDBcgDEQCUAwkAAAwDBcwDEQCYAwoEASwMAS4UAmtynAMJAAAMAwXQAxEAoAMJAAAMAwXUAxEApAMKBAEsDAEuFAJrcqgDBQEB2QN3rAMIAQLhA3nZA3ewAwUBAekDd7QDCAEC7QN56QN3uAMFAQHxA3e8AwgBAvUDefEDd8ADBQEB+QN3xAMIAQL9A3n5A3fIAwUBAYEEd8wDCAEChQR5gQR30AMFAQGJBHfUAwgBAo0EeYkEd94DQEFsdHVhLkRhdGEuTnVtYmVyRm9ybWF0dGluZy5OdW1iZXJGb3JtYXRWYWx1ZVNlZ21lbnQsIEFsdHVhLkRhdGHZA3cFBAMFkATmAz9BbHR1YS5EYXRhLk51bWJlckZvcm1hdHRpbmcuTnVtYmVyRm9ybWF0VGV4dFNlZ21lbnQsIEFsdHVhLkRhdGHhA3kFBAEtCQHpA3cFBAMFlATtA3kFBAEtCQHxA3cFBAMFmAT1A3kFBAEtCQH5A3cFBAMFnAT9A3kFBAEtCQGBBHcFBAMFoASFBHkFBAEtCQGJBHcFBAMFpASNBHkFBAEtCQGQBAYBAakEiwGUBAYBAbEEiwGYBAYBAbUEiwGcBAYBAbEEiwGgBAYBAakEiwGkBAYBAakEiwGuBDlBbHR1YS5EYXRhLk51bWJlckZvcm1hdHRpbmcuTnVtYmVyUGxhY2Vob2xkZXIsIEFsdHVhLkRhdGGpBIsBBQIwAAAAsQSLAQUCMAAAALUEiwEFAjAAAAA="/>
  <p:tag name="GRUNT-RENDERHASH" val="1818b512c21ce0a73e95bce189240546-svg"/>
  <p:tag name="GRUNT-X-SHAPEBOUNDS" val="ASIBBAAAAAAAQEpAAAAAAAB4bEAAAABAAFRxQAAAAIBm/mpAAA=="/>
  <p:tag name="GRUNT-X-PAGEOBJECT" val="AQUCpCUKOEFsdHVhLk9hay5Db3JlLkRvY3VtZW50TW9kZWwuQ2hhcnRPYmplY3QsIEFsdHVhLk9hay5Db3JlBQI1BBIEEK0DCFI2wE9Dq3joivYTQmAMEgQQqr8Ghxj3tE2QnsgznH+XaxUNBCUUNRg9HFUgZSQSUEFsdHVhLk9hay5Db3JlLkRvY3VtZW50TW9kZWwuVGVtcGxhdGluZy5DdXN0b21Qb3NpdGlvbkRlZmluaXRpb24sIEFsdHVhLk9hay5Db3JlDQQkBCIBBAAAAAAAYEpAGACgBQA4bkDj/684AExxQDwAwHdmvmVAFBMVKB0sNTA4AEU1DlU8XUBkAgVEGAQEAgVIHAIFTCALBVAMBW5iLU5PFVQkEAEBCQERARkBIQEpATEBOQAoFgQSBBAAAAAAAAAAAAAAAAAAAAAACAEsFgQSBBAAAAAAAAAAAAAAAAAAAAAACAEwADpHQWx0dWEuT2FrLkNvcmUuQ2hhcnQuQ2x1c3RlcmVkQmFyV2l0aExpbmVQbG90RGVmaW5pdGlvbiwgQWx0dWEuT2FrLkNvcmU1DjUEEgQQ2mCG+lSu+Uq1YCND/E2wixwCBVglXDVgPAIFZEkBbWiNAWylAXC1AXUeuQEAxQF9IDwFBYQBDQBABAEACQBEAgEASAIBAEwAUAoEASwMASAUAmtyVAkEBW5iLU5PCAFYBAEBiAFcDQAACAEUAwWMARwAJQBgJgQiAQQAAAAAAAAQQAAAAAAAABBAAAAAAAAAEEAAAAAAAAAQQAgEZAIBAGgLAwAAAAAAgE1ACCBsCwMAAAAAAAAUQAggcEo1kAE9lAFFmAFVnAFdoAF1pAGNAagBnQGsAaUBsAGtAbQBzQG4AdUBvAHdAcAB5QHEAe0ByAH1AcwB/QHQAYUC1AGNAtgBlQLcAXpFQWx0dWEuT2FrLkNvcmUuUGxvdHRpbmcuQXV0b21hdGljQ2F0ZWdvcnlBeGlzU2V0dGluZ3MsIEFsdHVhLk9hay5Db3JldR4TAQEN4AEQABkBMAA95AFF6AFIAYIBPUFsdHVhLk9hay5Db3JlLlRoZW1pbmcuUGFnZUNvbG9yU2NoZW1lUG9pbnRlciwgQWx0dWEuT2FrLkNvcmV9IACEAQbsAfAB9AGIAUIBABgDJfgBKQAxAEAASAJV/AFdgAJkEgQQibwqxtaH3UiT4VYepNdq022EAnWIAo0BjAKRAQGdAZACpQGUArUBmAKMAQIBAJABBQQDBZwClAEFBAMFoAKYAQUEAwWkApwBBQQDBagCoAEFBAMFnAKkAQUEAwWcAqgBBQQDBawCrAEFBAMFsAKwAQUEAwW0ArQBBQQDBbgCuAEFBAMFvAK8AQUEAwXAAsABBQQDBcQCxAEFBAMFyALIAQUEAwXMAswBBQQDBdAC0AEFBAMF1ALUAQUEAwXYAtgBBQQDBdwC3AEFBAMF4ALgAQIBAOQBBgXlAloIBOgBBgXtAloIBOwBKwQSBBC2eXxy0EHyUKp5dbmyumSbDBIEEB/rjDimIctLiTIXQgTfWDQcAQHwASsEEgQQrfGRoxqCdV+4daZv8AfmjQwSBBB1npiRXEMrR4CNoMsd75TjHAEB9AEqBBIEEMMy6ZPIhmZLpe0mPlty2yUMEgQQXy7bTCfg60eeNJHXSR8Q1hwA+AELAwAAAAAAAAAACAL8AQsDAAAAAAAAAAAIAYACCwMAAAAAAAAAAAgBhAIVBfACDfQCFfgCHfwCJYADLYQDNYgDiAIHDYwDFZEDWowCCwMAAAAAAAAAAAgEkAIGBZUDWggElAIGBZUDWggEmAIFBAMFmAOcAgIBAKACDgEGnAOgA6QDqAOsA7ADpAIEAQG0A6gCAgEArAICAQCwAgIBALQCDgEGuAO8A8ADxAPIA8wDuAICAQC8Ag4BBtAD1APYA9wD4APkA8ACEAEH6APsA/AD9AP4A/wDgATEAgIBAMgCBAEBhATMAgoBBIgEjASQBJQE0AICAQDUAgIBANgCAgEA3AICAQDgAgIBAOoCM0FsdHVhLk9hay5Db3JlLlRoZW1pbmcuQ29sb3JQb2ludGVyLCBBbHR1YS5PYWsuQ29yZeUCWlBQUP/tAlpQUFD/8AIHBAMEAQAIBPQCBQQBLggE+AIEAAEIBPwCBAAACASAAwQEAAgEhAMEBAAIBIgDBAAACASMAwUEAwWYBJEDWj4+5f+VA1pQUFD/mAMCAQCcAw4FnQSIAQsAAAAAAAAAAKADDgWlBIoBCwAAAAAAAAAApAMOBa0EjAELAAAAAAAA4D+oAw4FtQSOAQsAAAAAAADgP6wDDgW9BJABCwAAAAAAAOA/sAMOBcUEkgELAAAAAAAA+D+0AwgFzQSQAQ3QBLgDCgXVBJYBDd0EmAG8AwoF5QSIAQ3pBJsBwAMKBfEEjAEN9QSbAcQDCgX5BI4BDf0EmwHIAwkFgQWhAQ2JBVrMAwkFjQWkAQ2VBVrQAwcFmQWnAQkB1AMHBaEFqQEJANgDBwWpBacBCQHcAwcFrQWsAQkB4AMHBbUFrgEJAeQDBwW9BbABCQHoAwoFxQWyAQ3NBbQB7AMKBdUFtgEN3QW4AfADCgXlBboBDe0FvAH0AwoF9QW6AQ3tBbwB+AMKBfkFqQEN/QXAAfwDCgWFBq4BDf0FwAGABAoFiQawAQ2NBsQBhAQKBZUGxgENnQbIAYgECgWlBqkBDakGywGMBAoFsQa2AQ21BssBkAQKBbkGrgENvQbLAZQECgXBBrIBDcUGywGYBAQBAgEEogRTQWx0dWEuT2FrLkNvcmUuTW9kaWZpY2F0aW9uLlN0eWxpbmcuQWxsVmFsdWVBeGlzQ3VzdG9taXphdGlvblRhcmdldCwgQWx0dWEuT2FrLkNvcmWdBIgBAKoEWUFsdHVhLk9hay5Db3JlLk1vZGlmaWNhdGlvbi5TdHlsaW5nLlZhbHVlQXhpc0dyaWRsaW5lc0N1c3RvbWl6YXRpb25UYXJnZXQsIEFsdHVhLk9hay5Db3JlpQSKAQCyBFNBbHR1YS5PYWsuQ29yZS5Nb2RpZmljYXRpb24uU3R5bGluZy5DYXRlZ29yeUF4aXNDdXN0b21pemF0aW9uVGFyZ2V0LCBBbHR1YS5PYWsuQ29yZa0EjAEAugRQQWx0dWEuT2FrLkNvcmUuTW9kaWZpY2F0aW9uLlN0eWxpbmcuT3JpZ29MaW5lQ3VzdG9taXphdGlvblRhcmdldCwgQWx0dWEuT2FrLkNvcmW1BI4BAMIEXUFsdHVhLk9hay5Db3JlLk1vZGlmaWNhdGlvbi5TdHlsaW5nLkFsbENvbm5lY3RvcnNBdXhpbGlhcnlDdXN0b21pemF0aW9uVGFyZ2V0LCBBbHR1YS5PYWsuQ29yZb0EkAEAygRZQWx0dWEuT2FrLkNvcmUuTW9kaWZpY2F0aW9uLlN0eWxpbmcuU2VyaWVzV2l0aFBsb3RLaW5kQ3VzdG9taXphdGlvblRhcmdldCwgQWx0dWEuT2FrLkNvcmXFBJIBAwXIBs0EkAEA0AQFDAMFzAbaBFZBbHR1YS5PYWsuQ29yZS5Nb2RpZmljYXRpb24uU3R5bGluZy5BbGxTZXJpZXNNYXJrZXJDdXN0b21pemF0aW9uVGFyZ2V0LCBBbHR1YS5PYWsuQ29yZdUElgEA4gQ6QWx0dWEuT2FrLkNvcmUuVGhlbWluZy5CaW5kaW5nQ29sb3JQb2ludGVyLCBBbHR1YS5PYWsuQ29yZd0EmAEFBdEG1QHlBIgBAO4EN0FsdHVhLk9hay5Db3JlLlRoZW1pbmcuUGFnZUNvbG9yUG9pbnRlciwgQWx0dWEuT2FrLkNvcmXpBJsBBAAACADxBIwBAPUEmwEEAAAIAPkEjgEA/QSbAQQAAAgAhgVTQWx0dWEuT2FrLkNvcmUuTW9kaWZpY2F0aW9uLlN0eWxpbmcuQWxsR3JpZGxpbmVzQ3VzdG9taXphdGlvblRhcmdldCwgQWx0dWEuT2FrLkNvcmWBBaEBAIkFWoCAgP+SBU1BbHR1YS5PYWsuQ29yZS5Nb2RpZmljYXRpb24uU3R5bGluZy5TZXJpZXNDdXN0b21pemF0aW9uVGFyZ2V0LCBBbHR1YS5PYWsuQ29yZY0FpAEUBBIEEDmuoUtj5ytRr/eHmSY96aiVBVr/oS//ngVYQWx0dWEuT2FrLkNvcmUuTW9kaWZpY2F0aW9uLlN0eWxpbmcuU2VyaWVzTGFiZWxPZlR5cGVDdXN0b21pemF0aW9uVGFyZ2V0LCBBbHR1YS5PYWsuQ29yZZkFpwECAAKmBVhBbHR1YS5PYWsuQ29yZS5Nb2RpZmljYXRpb24uU3R5bGluZy5BbGxWYWx1ZUF4aXNMYWJlbEN1c3RvbWl6YXRpb25UYXJnZXQsIEFsdHVhLk9hay5Db3JloQWpAQCpBacBAgAAsgVVQWx0dWEuT2FrLkNvcmUuTW9kaWZpY2F0aW9uLlN0eWxpbmcuQWxsVG90YWxMYWJlbHNDdXN0b21pemF0aW9uVGFyZ2V0LCBBbHR1YS5PYWsuQ29yZa0FrAEAugVXQWx0dWEuT2FrLkNvcmUuTW9kaWZpY2F0aW9uLlN0eWxpbmcuQWxsQ2F0ZWdvcnlMYWJlbEN1c3RvbWl6YXRpb25UYXJnZXQsIEFsdHVhLk9hay5Db3JltQWuAQDCBVhBbHR1YS5PYWsuQ29yZS5Nb2RpZmljYXRpb24uU3R5bGluZy5BbGxBdXhpbGlhcnlMYWJlbEN1c3RvbWl6YXRpb25UYXJnZXQsIEFsdHVhLk9hay5Db3JlvQWwAQDKBVhBbHR1YS5PYWsuQ29yZS5Nb2RpZmljYXRpb24uU3R5bGluZy5DYXRlZ29yeUF4aXNUaXRsZUN1c3RvbWl6YXRpb25UYXJnZXQsIEFsdHVhLk9hay5Db3JlxQWyAQDSBUZBbHR1YS5PYWsuQ29yZS5QbG90dGluZy5BeGlzVGl0bGVMYWJlbFBsYWNlbWVudE91dHNpZGUsIEFsdHVhLk9hay5Db3JlzQW0AQIAAdoFXUFsdHVhLk9hay5Db3JlLk1vZGlmaWNhdGlvbi5TdHlsaW5nLkFsbFZhbHVlQXhpc1RpdGxlTGFiZWxDdXN0b21pemF0aW9uVGFyZ2V0LCBBbHR1YS5PYWsuQ29yZdUFtgEA4gVCQWx0dWEuT2FrLkNvcmUuUGxvdHRpbmcuQXhpc1RpdGxlTGFiZWxQbGFjZW1lbnRGYXIsIEFsdHVhLk9hay5Db3Jl3QW4AQIAAOoFX0FsdHVhLk9hay5Db3JlLk1vZGlmaWNhdGlvbi5TdHlsaW5nLlNlcmllc0xhYmVsc1dpdGhQbG90S2luZEN1c3RvbWl6YXRpb25UYXJnZXQsIEFsdHVhLk9hay5Db3Jl5QW6AQUF2AYIAPIFPUFsdHVhLk9hay5Db3JlLlBsb3R0aW5nLkxhYmVsUGxhY2VtZW50T3V0c2lkZSwgQWx0dWEuT2FrLkNvcmXtBbwBAPUFugEFBdwGCAD5BakBAIIGQUFsdHVhLk9hay5Db3JlLlBsb3R0aW5nLkF4aXNMYWJlbFBsYWNlbWVudE91dHNpZGUsIEFsdHVhLk9hay5Db3Jl/QXAAQIBAIUGrgEAiQawAQCSBkZBbHR1YS5PYWsuQ29yZS5QbG90dGluZy5BdXhpbGlhcnlMYWJlbFBsYWNlbWVudERlZmF1bHQsIEFsdHVhLk9hay5Db3JljQbEAQCaBlBBbHR1YS5PYWsuQ29yZS5Nb2RpZmljYXRpb24uU3R5bGluZy5BbGxMYWJlbHNDdXN0b21pemF0aW9uVGFyZ2V0LCBBbHR1YS5PYWsuQ29yZZUGxgEAogZCQWx0dWEuT2FrLkNvcmUuU3ludGF4U3RydWN0dXJlLkFjdHVhbEZvbnRTaXplVmFsdWUsIEFsdHVhLk9hay5Db3JlnQbIAQkDAAAAAAAAJEClBqkBAK4GQ0FsdHVhLk9hay5Db3JlLlN5bnRheFN0cnVjdHVyZS5BY3R1YWxGb250Q29sb3JWYWx1ZSwgQWx0dWEuT2FrLkNvcmWpBssBBQXhBpsBsQa2AQC1BssBBQXlBpsBuQauAQC9BssBBQXpBpsBwQayAQDFBssBBQXtBpsByAYBBcwGCgECAACAQAAAQEDWBkhBbHR1YS5PYWsuQ29yZS5TeW50YXhTdHJ1Y3R1cmUuUGxvdFNlcmllc0JpbmRpbmdTdHJhdGVneSwgQWx0dWEuT2FrLkNvcmXRBtUBANgGAgkK3AYBBeEGmwEEAAAIAOUGmwEEAAAIAOkGmwEEAAAIAO0GmwEEAAAIAA=="/>
  <p:tag name="GRUNT-SYNC" val="89d66bbddaa84e3dac5071d96cecef8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175ace02-bcab-4eec-b8c2-286b13aeeafb"/>
  <p:tag name="GRUNT-X-RESOURCES" val="AQIFBAQEAgEA"/>
  <p:tag name="GRUNT-VERSION" val="20.24.1.0"/>
  <p:tag name="GRUNT-VERSION-2" val="2024.1-r2-4069"/>
  <p:tag name="GRUNT-RENDERHASH" val="03e140afe7333f5934e39799556fafa1-svg"/>
  <p:tag name="GRUNT-X-SHAPEBOUNDS" val="ASIBBAAAAAAAYEpAAAAAwLENfUAAAAAAAMBbQAAAAAAAADtAAA=="/>
  <p:tag name="GRUNT-X-PAGEOBJECT" val="AQUCswIKPkFsdHVhLk9hay5Db3JlLkRvY3VtZW50TW9kZWwuQ2hhcnRMZWdlbmRPYmplY3QsIEFsdHVhLk9hay5Db3JlBQI5BBIEEM0PTCSD7b9FluBBG6NE5p4UEgQQ2mCG+lSu+Uq1YCND/E2wiy0MNRBEAgUUSABVGQdlIG0kDAQEAgUoEAIFLBQCAQAeUEFsdHVhLk9hay5Db3JlLkRvY3VtZW50TW9kZWwuVGVtcGxhdGluZy5DdXN0b21Qb3NpdGlvbkRlZmluaXRpb24sIEFsdHVhLk9hay5Db3JlGQckBCIBBAAAAAAAYEpAAAAAwLENfUAAAAAAAMBbQAAAAAAAADtAIAsFMAwFbmItTk8VNCQEAQEJASgCAQAsADAKBAEsDAEgFAJrcjQJBAVuYi1OTwgB"/>
  <p:tag name="GRUNT-SYNC" val="2a8ef85bc5604533970c4e193cff504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rxAKN0FsdHVhLkRhdGEuRGF0YVNlcnZpY2VzLkVtYmVkZGVkRGF0YVNlcnZpY2UsIEFsdHVhLkRhdGEFAhkEEgQQdxcuEKWX/UC50jLbMe6X9g0MJREFDAYFGAgMEAUWQUFsdHVhLkRhdGEuRGF0YVNlcnZpY2VzLkVtYmVkZGVkRGF0YVNlcnZpY2VFZGl0b3JEYXRhLCBBbHR1YS5EYXRhEQUEBRwNIBgGBSQNKBUsHB4dBBIEEB/rjDimIctLiTIXQgTfWDQLAAAAAAAgYkAgPB0EEgQQhB+R4huFNUGwuFZrPUlJDwsAAAAAAAAyQB0EEgQQ6NwaFbIJ/EeQekLL/HFgWwsAAAAAAAAyQCQEMDQ4PCgCQEQs6AIsBCgEEgQQ2o0rEHtPmkyZRivzTi/4HAwSBBBfl5CXxFq7QpsQMAZxTsVZDUgsBCgEEgQQdZ6YkVxDK0eAjaDLHe+U4wwSBBBfl5CXxFq7QpsQMAZxTsVZDUwsBCgEEgQQM3YuVsqsz0O4n/jX90PyIgwSBBBfl5CXxFq7QpsQMAZxTsVZDVAsBCgEEgQQH+uMOKYhy0uJMhdCBN9YNAwSBBBfl5CXxFq7QpsQMAZxTsVZDVQsBCgEEgQQ2o0rEHtPmkyZRivzTi/4HAwSBBD5LFn+/d9vRbn+Z9Mj0qsjDVgsBCgEEgQQdZ6YkVxDK0eAjaDLHe+U4wwSBBD5LFn+/d9vRbn+Z9Mj0qsjDVwsBCgEEgQQH+uMOKYhy0uJMhdCBN9YNAwSBBD5LFn+/d9vRbn+Z9Mj0qsjDWAsBCgEEgQQM3YuVsqsz0O4n/jX90PyIgwSBBD5LFn+/d9vRbn+Z9Mj0qsjDWQwGgQSBBDajSsQe0+aTJlGK/NOL/gcDAJDMRkBNBoEEgQQH+uMOKYhy0uJMhdCBN9YNAwCQzIZATgaBBIEEHWemJFcQytHgI2gyx3vlOMMAkMzGQE8GgQSBBAzdi5WyqzPQ7if+Nf3Q/IiDAJDNBkBQBoEEgQQX5eQl8Rau0KbEDAGcU7FWQwCUjEZAUQaBBIEEPksWf79329Fuf5n0yPSqyMMAlIzGQFIBA1oFWxMBA1oFXBQBA1oFXRUBA1oFXhYBA1oFXxcBQ1oFYABYAUNaBWEAWQFDWgViAFoAgQAbAUEAwWMAXAFBAMFkAF0BQQDBZQBeAUEAwWYAXwFBAMFnAGAAQUEAwWgAYQBBQQDBaQBiAEFBAMFqAGMAQIBAJABBQEBrQEslAEFAQG1ASyYAQUBAbkBLJwBBQEBvQEsoAEFAQHBASykAQUBAcUBLKgBBQEByQEssgEvQWx0dWEuRGF0YS5JbmZyYXN0cnVjdHVyZS5QYXJhZ3JhcGgsIEFsdHVhLkRhdGGtASwFDAMFzAG1ASwFDAMF0AG5ASwFDAMF1AG9ASwFDAMF2AHBASwFDAMF3AHFASwFDAMF4AHJASwFDAMF5AHMAQUBAekBO9ABBQEB8QE71AEFAQH1ATvYAQUBAfkBO9wBBQEB/QFA4AEFAQGFAkDkAQUBAYkCQO4BLUFsdHVhLkRhdGEuSW5mcmFzdHJ1Y3R1cmUuVGV4dFJ1biwgQWx0dWEuRGF0YekBOxQED1Ryw7huZGVsYWcgU8O4cg2MAvEBOxUEEE3DuHJlIG9nIFJvbXNkYWwNjAL1ATsUBA9UcsO4bmRlbGFnIE5vcmQNkAL5ATsRBAxOZWkvVmV0IGlra2UNlAKCAi9BbHR1YS5EYXRhLkluZnJhc3RydWN0dXJlLk51bWJlclJ1biwgQWx0dWEuRGF0Yf0BQBIEDQMAAAAAAAA4QB2ZAkcNoAKFAkASBA0DAAAAAAAAQEAdpQJHDagCiQJAEgQNAwAAAAAAgEpAHa0CRw2wAowCEgQAHAAkACwANAA8AEwAVABdAJACEgQAHAAkACwANAA8AEwAVABdAJQCEgQAHAAkACwANAA8AEwAVABdAJ4CPUFsdHVhLkRhdGEuTnVtYmVyRm9ybWF0dGluZy5Db21wb3NpdGVOdW1iZXJGb3JtYXQsIEFsdHVhLkRhdGGZAkcLHbQCJbgCNbwCPQCgAhIEABwAJAAsADQAPABMAFQAXQClAkcLHcACJcQCNcgCPQCoAhIEABwAJAAsADQAPABMAFQAXQCtAkcLHcwCJdACNdQCPQCwAhIEABwAJAAsADQAPABMAFQAXQC0AgkAAAwDBdgCEQC4AgkAAAwDBdwCEQC8AgoEASwMAS4UAmtywAIJAAAMAwXgAhEAxAIJAAAMAwXkAhEAyAIKBAEsDAEuFAJrcswCCQAADAMF6AIRANACCQAADAMF7AIRANQCCgQBLAwBLhQCa3LYAgUBAfECXdwCCAEC+QJf8QJd4AIFAQGBA13kAggBAoUDX4EDXegCBQEBiQNd7AIIAQKNA1+JA132AkBBbHR1YS5EYXRhLk51bWJlckZvcm1hdHRpbmcuTnVtYmVyRm9ybWF0VmFsdWVTZWdtZW50LCBBbHR1YS5EYXRh8QJdBQQDBZAD/gI/QWx0dWEuRGF0YS5OdW1iZXJGb3JtYXR0aW5nLk51bWJlckZvcm1hdFRleHRTZWdtZW50LCBBbHR1YS5EYXRh+QJfBQQBLQkBgQNdBQQDBZQDhQNfBQQBLQkBiQNdBQQDBZgDjQNfBQQBLQkBkAMFAQGdA2iUAwUBAZ0DaJgDBQEBnQNoogM5QWx0dWEuRGF0YS5OdW1iZXJGb3JtYXR0aW5nLk51bWJlclBsYWNlaG9sZGVyLCBBbHR1YS5EYXRhnQNoBQIwAAAA"/>
  <p:tag name="GRUNT-X-SHAPEBOUNDS" val="ASIBBAAAAAAA/H1AAAAAoHk9cEAAAACgmJVjQAAAAGB8PWJAAA=="/>
  <p:tag name="GRUNT-RENDERHASH" val="bedb8b4cb417164ef99245a164344efc-svg"/>
  <p:tag name="GRUNT-X-PAGEOBJECT" val="AQUC5yYKOEFsdHVhLk9hay5Db3JlLkRvY3VtZW50TW9kZWwuQ2hhcnRPYmplY3QsIEFsdHVhLk9hay5Db3JlBQI1BBIEEJP3eriHQ65DtwNMZBWSmIkMEgQQdxcuEKWX/UC50jLbMe6X9hUNBCUUNRg9HFUgZSQSUEFsdHVhLk9hay5Db3JlLkRvY3VtZW50TW9kZWwuVGVtcGxhdGluZy5DdXN0b21Qb3NpdGlvbkRlZmluaXRpb24sIEFsdHVhLk9hay5Db3JlDQQkBCIBBAAAAAAAAH5AjltPdUYKcUCIxcGdmIVjQAh0l0Rf4VpAFBMVKB0sNTA4AEU1DlU8XUBkAgVEGAQEAgVIHAIFTCALBVAMBW5iLU5PFVQkEAEBCQERARkBIQEpATEBOQAoFgQSBBAAAAAAAAAAAAAAAAAAAAAACAEsFgQSBBAAAAAAAAAAAAAAAAAAAAAACAEwADpHQWx0dWEuT2FrLkNvcmUuQ2hhcnQuQ2x1c3RlcmVkQmFyV2l0aExpbmVQbG90RGVmaW5pdGlvbiwgQWx0dWEuT2FrLkNvcmU1DjUEEgQQQb8BAuxYkkuBXtm2E5Yl0BwCBVglXDVgPAIFZEkBbWiNAWylAXC1AXUeuQEAxQF9IDwFBYQBDQBABAEACQBEBAEBiAFIAgEATABQCgQBLAwBIBQCa3JUCQQFbmItTk8IAVgEAQGMAVwNAAAIARQDBZABHAAlAGAmBCIBBAAAAAAAABBAAAAAAAAAEEAAAAAAAAAQQAAAAAAAABBACARkAgEAaAsDAAAAAACATUAIIGwLAwAAAAAAABRACCBwSjWUAT2YAUWcAVWgAV2kAXWoAY0BrAGdAbABpQG0Aa0BuAHNAbwB1QHAAd0BxAHlAcgB7QHMAfUB0AH9AdQBhQLYAY0C3AGVAuABekVBbHR1YS5PYWsuQ29yZS5QbG90dGluZy5BdXRvbWF0aWNDYXRlZ29yeUF4aXNTZXR0aW5ncywgQWx0dWEuT2FrLkNvcmV1HhMBAQ3kARAAGQEwAD3oAUXsAUgBggE9QWx0dWEuT2FrLkNvcmUuVGhlbWluZy5QYWdlQ29sb3JTY2hlbWVQb2ludGVyLCBBbHR1YS5PYWsuQ29yZX0gAIQBAIgBSAQSBBDeEv+gt+OZUY2Brka6081VDBIEEB9XaNYv47RHhUT25YiV0VQV8AEcEgQQ+SxZ/v3fb0W5/mfTI9KrIyQALfQBNfkBP4wBQgEAGAMlgAIpADEAQABIAlWEAl2IAmQSBBAfV2jWL+O0R4VE9uWIldFUbYwCdZACjQGUApEBAZ0BmAKlAZwCtQGgApABAgEAlAEFBAMFpAKYAQUEAwWoApwBBQQDBawCoAEFBAMFsAKkAQUEAwWkAqgBBQQDBaQCrAEFBAMFtAKwAQUEAwW4ArQBBQQDBbwCuAEFBAMFwAK8AQUEAwXEAsABBQQDBcgCxAEFBAMFzALIAQUEAwXQAswBBQQDBdQC0AEFBAMF2ALUAQUEAwXcAtgBBQQDBeAC3AEFBAMF5ALgAQUEAwXoAuQBAgEA6AEGBe0CXAgE7AEGBfUCXAgE8AEFBfgCCAH0AQQFAAgB/gE+QWx0dWEuT2FrLkNvcmUuQ2hhcnQuRGVmYXVsdFBsb3RTZXJpZXNTZXR0aW5ncywgQWx0dWEuT2FrLkNvcmX5AT8AgAILAwAAAAAAAAAACAKEAgsDAAAAAAAAAAAIAYgCCwMAAAAAAAAAAAgBjAIVBfwCDYADFYQDHYgDJYwDLZADNZQDkAIHDZgDFZ0DXJQCCwMAAAAAAAAAAAgEmAIGBaEDXAgEnAIGBaEDXAgEoAIFBAMFpAOkAgIBAKgCDgEGqAOsA7ADtAO4A7wDrAIEAQHAA7ACAgEAtAICAQC4AgIBALwCDgEGxAPIA8wD0APUA9gDwAICAQDEAg4BBtwD4APkA+gD7APwA8gCEAEH9AP4A/wDgASEBIgEjATMAgIBANACBAEBkATUAgoBBJQEmAScBKAE2AICAQDcAgIBAOACAgEA5AICAQDoAgIBAPICM0FsdHVhLk9hay5Db3JlLlRoZW1pbmcuQ29sb3JQb2ludGVyLCBBbHR1YS5PYWsuQ29yZe0CXFBQUP/1AlxQUFD/+AIFBAMFpAT8AgcEAwQBAAgEgAMFBAEuCASEAwQAAQgEiAMEAAAIBIwDBAQACASQAwQEAAgElAMEAAAIBJgDBQQDBagEnQNcPj7l/6EDXFBQUP+kAwIBAKgDDgWtBIwBCwAAAAAAAAAArAMOBbUEjgELAAAAAAAAAACwAw4FvQSQAQsAAAAAAADgP7QDDgXFBJIBCwAAAAAAAOA/uAMOBc0ElAELAAAAAAAA4D+8Aw4F1QSWAQsAAAAAAAD4P8ADCAXdBJQBDeAExAMKBeUEmgEN7QScAcgDCgX1BIwBDfkEnwHMAwoFgQWQAQ2FBZ8B0AMKBYkFkgENjQWfAdQDCQWRBaUBDZkFXNgDCQWdBagBDaUFXNwDBwWpBasBCQHgAwcFsQWtAQkA5AMHBbkFqwEJAegDBwW9BbABCQHsAwcFxQWyAQkB8AMHBc0FtAEJAfQDCgXVBbYBDd0FuAH4AwoF5QW6AQ3tBbwB/AMKBfUFvgEN/QXAAYAECgWFBr4BDf0FwAGEBAoFiQatAQ2NBsQBiAQKBZUGsgENjQbEAYwECgWZBrQBDZ0GyAGQBAoFpQbKAQ2tBswBlAQKBbUGrQENuQbPAZgECgXBBroBDcUGzwGcBAoFyQayAQ3NBs8BoAQKBdEGtgEN1QbPAaQEBgEB2QbXAagEBAECAQSyBFNBbHR1YS5PYWsuQ29yZS5Nb2RpZmljYXRpb24uU3R5bGluZy5BbGxWYWx1ZUF4aXNDdXN0b21pemF0aW9uVGFyZ2V0LCBBbHR1YS5PYWsuQ29yZa0EjAEAugRZQWx0dWEuT2FrLkNvcmUuTW9kaWZpY2F0aW9uLlN0eWxpbmcuVmFsdWVBeGlzR3JpZGxpbmVzQ3VzdG9taXphdGlvblRhcmdldCwgQWx0dWEuT2FrLkNvcmW1BI4BAMIEU0FsdHVhLk9hay5Db3JlLk1vZGlmaWNhdGlvbi5TdHlsaW5nLkNhdGVnb3J5QXhpc0N1c3RvbWl6YXRpb25UYXJnZXQsIEFsdHVhLk9hay5Db3JlvQSQAQDKBFBBbHR1YS5PYWsuQ29yZS5Nb2RpZmljYXRpb24uU3R5bGluZy5Pcmlnb0xpbmVDdXN0b21pemF0aW9uVGFyZ2V0LCBBbHR1YS5PYWsuQ29yZcUEkgEA0gRdQWx0dWEuT2FrLkNvcmUuTW9kaWZpY2F0aW9uLlN0eWxpbmcuQWxsQ29ubmVjdG9yc0F1eGlsaWFyeUN1c3RvbWl6YXRpb25UYXJnZXQsIEFsdHVhLk9hay5Db3JlzQSUAQDaBFlBbHR1YS5PYWsuQ29yZS5Nb2RpZmljYXRpb24uU3R5bGluZy5TZXJpZXNXaXRoUGxvdEtpbmRDdXN0b21pemF0aW9uVGFyZ2V0LCBBbHR1YS5PYWsuQ29yZdUElgEDBeAG3QSUAQDgBAUMAwXkBuoEVkFsdHVhLk9hay5Db3JlLk1vZGlmaWNhdGlvbi5TdHlsaW5nLkFsbFNlcmllc01hcmtlckN1c3RvbWl6YXRpb25UYXJnZXQsIEFsdHVhLk9hay5Db3Jl5QSaAQDyBDpBbHR1YS5PYWsuQ29yZS5UaGVtaW5nLkJpbmRpbmdDb2xvclBvaW50ZXIsIEFsdHVhLk9hay5Db3Jl7QScAQUF6QbbAfUEjAEA/gQ3QWx0dWEuT2FrLkNvcmUuVGhlbWluZy5QYWdlQ29sb3JQb2ludGVyLCBBbHR1YS5PYWsuQ29yZfkEnwEEAAAIAIEFkAEAhQWfAQQAAAgAiQWSAQCNBZ8BBAAACACWBVNBbHR1YS5PYWsuQ29yZS5Nb2RpZmljYXRpb24uU3R5bGluZy5BbGxHcmlkbGluZXNDdXN0b21pemF0aW9uVGFyZ2V0LCBBbHR1YS5PYWsuQ29yZZEFpQEAmQVcgICA/6IFTUFsdHVhLk9hay5Db3JlLk1vZGlmaWNhdGlvbi5TdHlsaW5nLlNlcmllc0N1c3RvbWl6YXRpb25UYXJnZXQsIEFsdHVhLk9hay5Db3JlnQWoARQEEgQQ3hL/oLfjmVGNga5GutPNVaUFXAAAwP+uBVhBbHR1YS5PYWsuQ29yZS5Nb2RpZmljYXRpb24uU3R5bGluZy5TZXJpZXNMYWJlbE9mVHlwZUN1c3RvbWl6YXRpb25UYXJnZXQsIEFsdHVhLk9hay5Db3JlqQWrAQIAArYFWEFsdHVhLk9hay5Db3JlLk1vZGlmaWNhdGlvbi5TdHlsaW5nLkFsbFZhbHVlQXhpc0xhYmVsQ3VzdG9taXphdGlvblRhcmdldCwgQWx0dWEuT2FrLkNvcmWxBa0BALkFqwECAADCBVVBbHR1YS5PYWsuQ29yZS5Nb2RpZmljYXRpb24uU3R5bGluZy5BbGxUb3RhbExhYmVsc0N1c3RvbWl6YXRpb25UYXJnZXQsIEFsdHVhLk9hay5Db3JlvQWwAQDKBVdBbHR1YS5PYWsuQ29yZS5Nb2RpZmljYXRpb24uU3R5bGluZy5BbGxDYXRlZ29yeUxhYmVsQ3VzdG9taXphdGlvblRhcmdldCwgQWx0dWEuT2FrLkNvcmXFBbIBANIFWEFsdHVhLk9hay5Db3JlLk1vZGlmaWNhdGlvbi5TdHlsaW5nLkFsbEF1eGlsaWFyeUxhYmVsQ3VzdG9taXphdGlvblRhcmdldCwgQWx0dWEuT2FrLkNvcmXNBbQBANoFWEFsdHVhLk9hay5Db3JlLk1vZGlmaWNhdGlvbi5TdHlsaW5nLkNhdGVnb3J5QXhpc1RpdGxlQ3VzdG9taXphdGlvblRhcmdldCwgQWx0dWEuT2FrLkNvcmXVBbYBAOIFRkFsdHVhLk9hay5Db3JlLlBsb3R0aW5nLkF4aXNUaXRsZUxhYmVsUGxhY2VtZW50T3V0c2lkZSwgQWx0dWEuT2FrLkNvcmXdBbgBAgAB6gVdQWx0dWEuT2FrLkNvcmUuTW9kaWZpY2F0aW9uLlN0eWxpbmcuQWxsVmFsdWVBeGlzVGl0bGVMYWJlbEN1c3RvbWl6YXRpb25UYXJnZXQsIEFsdHVhLk9hay5Db3Jl5QW6AQDyBUJBbHR1YS5PYWsuQ29yZS5QbG90dGluZy5BeGlzVGl0bGVMYWJlbFBsYWNlbWVudEZhciwgQWx0dWEuT2FrLkNvcmXtBbwBAgAA+gVfQWx0dWEuT2FrLkNvcmUuTW9kaWZpY2F0aW9uLlN0eWxpbmcuU2VyaWVzTGFiZWxzV2l0aFBsb3RLaW5kQ3VzdG9taXphdGlvblRhcmdldCwgQWx0dWEuT2FrLkNvcmX1Bb4BBQXwBggAggY9QWx0dWEuT2FrLkNvcmUuUGxvdHRpbmcuTGFiZWxQbGFjZW1lbnRPdXRzaWRlLCBBbHR1YS5PYWsuQ29yZf0FwAEAhQa+AQUF9AYIAIkGrQEAkgZBQWx0dWEuT2FrLkNvcmUuUGxvdHRpbmcuQXhpc0xhYmVsUGxhY2VtZW50T3V0c2lkZSwgQWx0dWEuT2FrLkNvcmWNBsQBAgEAlQayAQCZBrQBAKIGRkFsdHVhLk9hay5Db3JlLlBsb3R0aW5nLkF1eGlsaWFyeUxhYmVsUGxhY2VtZW50RGVmYXVsdCwgQWx0dWEuT2FrLkNvcmWdBsgBAKoGUEFsdHVhLk9hay5Db3JlLk1vZGlmaWNhdGlvbi5TdHlsaW5nLkFsbExhYmVsc0N1c3RvbWl6YXRpb25UYXJnZXQsIEFsdHVhLk9hay5Db3JlpQbKAQCyBkJBbHR1YS5PYWsuQ29yZS5TeW50YXhTdHJ1Y3R1cmUuQWN0dWFsRm9udFNpemVWYWx1ZSwgQWx0dWEuT2FrLkNvcmWtBswBCQMAAAAAAAAiQLUGrQEAvgZDQWx0dWEuT2FrLkNvcmUuU3ludGF4U3RydWN0dXJlLkFjdHVhbEZvbnRDb2xvclZhbHVlLCBBbHR1YS5PYWsuQ29yZbkGzwEFBfkGnwHBBroBAMUGzwEFBf0GnwHJBrIBAM0GzwEFBYEHnwHRBrYBANUGzwEFBYUHnwHeBi9BbHR1YS5EYXRhLkluZnJhc3RydWN0dXJlLlBhcmFncmFwaCwgQWx0dWEuRGF0YdkG1wEFDAMFiAfgBgEF5AYKAQIAAIBAAABAQO4GSEFsdHVhLk9hay5Db3JlLlN5bnRheFN0cnVjdHVyZS5QbG90U2VyaWVzQmluZGluZ1N0cmF0ZWd5LCBBbHR1YS5PYWsuQ29yZekG2wEA8AYCCQr0BgEF+QafAQQAAAgA/QafAQQAAAgAgQefAQQAAAgAhQefAQQAAAgAiAcGAQGNB+QBkgctQWx0dWEuRGF0YS5JbmZyYXN0cnVjdHVyZS5UZXh0UnVuLCBBbHR1YS5EYXRhjQfkAREEDE5laS9WZXQgaWtrZQ2UB5QHEgQAHAAkACwANAA8AEwAVABdAA=="/>
  <p:tag name="GRUNT-SYNC" val="4b1039612c05487a8e13bf39ebf0ecc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bbca5703-a3e6-4296-b1a1-2c74e6aaac36"/>
  <p:tag name="GRUNT-X-RESOURCES" val="AQIFBAQEAgEA"/>
  <p:tag name="GRUNT-X-SHAPEBOUNDS" val="ASIBBAAAAAAAAH5AAAAAgGb2YkAAAAAAAIB2QAAAAKD/PzlAAA=="/>
  <p:tag name="GRUNT-VERSION" val="20.24.1.0"/>
  <p:tag name="GRUNT-VERSION-2" val="2024.1-r2-4069"/>
  <p:tag name="GRUNT-RENDERHASH" val="00000000000000000000000000000000-svg"/>
  <p:tag name="GRUNT-SYNC" val="42fce66b646e4e83be1569b0adb180dc"/>
  <p:tag name="GRUNT-X-PAGEOBJECT" val="AQUCxgIKPkFsdHVhLk9hay5Db3JlLkRvY3VtZW50TW9kZWwuQ2hhcnRMZWdlbmRPYmplY3QsIEFsdHVhLk9hay5Db3JlBQI5BBIEEANXyrvmo5ZCsaEsdOaqrDYUEgQQQb8BAuxYkkuBXtm2E5Yl0C0MNRBEAgUUSABVGQdlIG0kDAQEAgUoEAIFLBQVAQESBBDeEv+gt+OZUY2Brka6081VHlBBbHR1YS5PYWsuQ29yZS5Eb2N1bWVudE1vZGVsLlRlbXBsYXRpbmcuQ3VzdG9tUG9zaXRpb25EZWZpbml0aW9uLCBBbHR1YS5PYWsuQ29yZRkHJAQiAQQAAAAAAAB+QFUAYH1m9mJAAAAAAACAdkBA/v+Q/z85QCALBTAMBW5iLU5PFTQkBAEBCQEoAgEALAAwCgQBLAwBIBQCa3I0CQQFbmItTk8IAQ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wBAKN0FsdHVhLkRhdGEuRGF0YVNlcnZpY2VzLkVtYmVkZGVkRGF0YVNlcnZpY2UsIEFsdHVhLkRhdGEFAhkEEgQQF/lQ2Auuk0mTq3jSRMKl2g0MJREFDAYFGAgMEAUWQUFsdHVhLkRhdGEuRGF0YVNlcnZpY2VzLkVtYmVkZGVkRGF0YVNlcnZpY2VFZGl0b3JEYXRhLCBBbHR1YS5EYXRhEQUEBRwNIBgGBSQNKBUsHB4dBBIEEB/rjDimIctLiTIXQgTfWDQLAAAAAAAgYkAgPB0EEgQQhB+R4huFNUGwuFZrPUlJDwsAAAAAAAAyQB0EEgQQ6NwaFbIJ/EeQekLL/HFgWwsAAAAAAAAyQCQEMDQ4PCgCQEQs6AIsBCgEEgQQ2o0rEHtPmkyZRivzTi/4HAwSBBBfl5CXxFq7QpsQMAZxTsVZDUgsBCgEEgQQdZ6YkVxDK0eAjaDLHe+U4wwSBBBfl5CXxFq7QpsQMAZxTsVZDUwsBCgEEgQQM3YuVsqsz0O4n/jX90PyIgwSBBBfl5CXxFq7QpsQMAZxTsVZDVAsBCgEEgQQH+uMOKYhy0uJMhdCBN9YNAwSBBBfl5CXxFq7QpsQMAZxTsVZDVQsBCgEEgQQ2o0rEHtPmkyZRivzTi/4HAwSBBD5LFn+/d9vRbn+Z9Mj0qsjDVgsBCgEEgQQdZ6YkVxDK0eAjaDLHe+U4wwSBBD5LFn+/d9vRbn+Z9Mj0qsjDVwsBCgEEgQQH+uMOKYhy0uJMhdCBN9YNAwSBBD5LFn+/d9vRbn+Z9Mj0qsjDWAsBCgEEgQQM3YuVsqsz0O4n/jX90PyIgwSBBD5LFn+/d9vRbn+Z9Mj0qsjDWQwGgQSBBDajSsQe0+aTJlGK/NOL/gcDAJDMRkBNBoEEgQQH+uMOKYhy0uJMhdCBN9YNAwCQzIZATgaBBIEEHWemJFcQytHgI2gyx3vlOMMAkMzGQE8GgQSBBAzdi5WyqzPQ7if+Nf3Q/IiDAJDNBkBQBoEEgQQX5eQl8Rau0KbEDAGcU7FWQwCUjEZAUQaBBIEEPksWf79329Fuf5n0yPSqyMMAlIzGQFIBA1oFWxMBA1oFXBQBA1oFXRUBA1oFXhYBA1oFXxcBQ1oFYABYAUNaBWEAWQFDWgViAFoAgQAbAUEAwWMAXAFBAMFkAF0BQQDBZQBeAUEAwWYAXwFBAMFnAGAAQUEAwWgAYQBBQQDBaQBiAEFBAMFqAGMAQIBAJABBQEBrQEslAEFAQG1ASyYAQUBAbkBLJwBBQEBvQEsoAEFAQHBASykAQUBAcUBLKgBBQEByQEssgEvQWx0dWEuRGF0YS5JbmZyYXN0cnVjdHVyZS5QYXJhZ3JhcGgsIEFsdHVhLkRhdGGtASwFDAMFzAG1ASwFDAMF0AG5ASwFDAMF1AG9ASwFDAMF2AHBASwFDAMF3AHFASwFDAMF4AHJASwFDAMF5AHMAQUBAekBO9ABBQEB8QE71AEFAQH1ATvYAQUBAfkBO9wBBQEB/QFA4AEFAQGFAkDkAQUBAYkCQO4BLUFsdHVhLkRhdGEuSW5mcmFzdHJ1Y3R1cmUuVGV4dFJ1biwgQWx0dWEuRGF0YekBOxIEDTUuMDAw4oCTOS45OTkNjALxATsXBBIxMC4wMDAgZWxsZXIgZmxlcmUNkAL1ATsQBAtVbmRlciA1LjAwMA2UAvkBOxEEDE5laS9WZXQgaWtrZQ2YAoICL0FsdHVhLkRhdGEuSW5mcmFzdHJ1Y3R1cmUuTnVtYmVyUnVuLCBBbHR1YS5EYXRh/QFAEgQNAwAAAAAAAD9AHZ0CSA2kAoUCQBIEDQMAAAAAAABHQB2pAkgNrAKJAkASBA0DAAAAAACAQ0AdsQJIDbQCjAISBAAcACQALAA0ADwATABUAF0AkAISBAAcACQALAA0ADwATABUAF0AlAISBAAcACQALAA0ADwATABUAF0AmAISBAAcACQALAA0ADwATABUAF0AogI9QWx0dWEuRGF0YS5OdW1iZXJGb3JtYXR0aW5nLkNvbXBvc2l0ZU51bWJlckZvcm1hdCwgQWx0dWEuRGF0YZ0CSAsduAIlvAI1wAI9AKQCEgQAHAAkACwANAA8AEwAVABdAKkCSAsdxAIlyAI1zAI9AKwCEgQAHAAkACwANAA8AEwAVABdALECSAsd0AIl1AI12AI9ALQCEgQAHAAkACwANAA8AEwAVABdALgCCQAADAMF3AIRALwCCQAADAMF4AIRAMACCgQBLAwBLhQCa3LEAgkAAAwDBeQCEQDIAgkAAAwDBegCEQDMAgoEASwMAS4UAmty0AIJAAAMAwXsAhEA1AIJAAAMAwXwAhEA2AIKBAEsDAEuFAJrctwCBQEB9QJe4AIIAQL9AmD1Al7kAgUBAYUDXugCCAECiQNghQNe7AIFAQGNA17wAggBApEDYI0DXvoCQEFsdHVhLkRhdGEuTnVtYmVyRm9ybWF0dGluZy5OdW1iZXJGb3JtYXRWYWx1ZVNlZ21lbnQsIEFsdHVhLkRhdGH1Al4FBAMFlAOCAz9BbHR1YS5EYXRhLk51bWJlckZvcm1hdHRpbmcuTnVtYmVyRm9ybWF0VGV4dFNlZ21lbnQsIEFsdHVhLkRhdGH9AmAFBAEtCQGFA14FBAMFmAOJA2AFBAEtCQGNA14FBAMFnAORA2AFBAEtCQGUAwUBAaEDaZgDBQEBoQNpnAMFAQGhA2mmAzlBbHR1YS5EYXRhLk51bWJlckZvcm1hdHRpbmcuTnVtYmVyUGxhY2Vob2xkZXIsIEFsdHVhLkRhdGGhA2kFAjAAAAA="/>
  <p:tag name="GRUNT-X-SHAPEBOUNDS" val="ASIBBAAAAGAc5YRAAAAAQDMTcEAAAACApE1nQAAAAGAJkmJAAA=="/>
  <p:tag name="GRUNT-RENDERHASH" val="2136291b21e8ec93fafe6fc8103d7f2e-svg"/>
  <p:tag name="GRUNT-X-PAGEOBJECT" val="AQUC5yYKOEFsdHVhLk9hay5Db3JlLkRvY3VtZW50TW9kZWwuQ2hhcnRPYmplY3QsIEFsdHVhLk9hay5Db3JlBQI1BBIEEFhpVTVpkxlMry0q3QVeBaUMEgQQF/lQ2Auuk0mTq3jSRMKl2hUNBCUUNRg9HFUgZSQSUEFsdHVhLk9hay5Db3JlLkRvY3VtZW50TW9kZWwuVGVtcGxhdGluZy5DdXN0b21Qb3NpdGlvbkRlZmluaXRpb24sIEFsdHVhLk9hay5Db3JlDQQkBCIBBE8yhlYc54RAAAAAAADgcEBAAst6pD1nQEDi1Bl5iltAFBMVKB0sNTA4AEU1DlU8XUBkAgVEGAQEAgVIHAIFTCALBVAMBW5iLU5PFVQkEAEBCQERARkBIQEpATEBOQAoFgQSBBAAAAAAAAAAAAAAAAAAAAAACAEsFgQSBBAAAAAAAAAAAAAAAAAAAAAACAEwADpHQWx0dWEuT2FrLkNvcmUuQ2hhcnQuQ2x1c3RlcmVkQmFyV2l0aExpbmVQbG90RGVmaW5pdGlvbiwgQWx0dWEuT2FrLkNvcmU1DjUEEgQQUa+CWQ5QpkOSYJ8fHMWl2BwCBVglXDVgPAIFZEkBbWiNAWylAXC1AXUeuQEAxQF9IDwFBYQBDQBABAEACQBEBAEBiAFIAgEATABQCgQBLAwBIBQCa3JUCQQFbmItTk8IAVgEAQGMAVwNAAAIARQDBZABHAAlAGAmBCIBBAAAAAAAABBAAAAAAAAAEEAAAAAAAAAQQAAAAAAAABBACARkAgEAaAsDAAAAAACATUAIIGwLAwAAAAAAABRACCBwSjWUAT2YAUWcAVWgAV2kAXWoAY0BrAGdAbABpQG0Aa0BuAHNAbwB1QHAAd0BxAHlAcgB7QHMAfUB0AH9AdQBhQLYAY0C3AGVAuABekVBbHR1YS5PYWsuQ29yZS5QbG90dGluZy5BdXRvbWF0aWNDYXRlZ29yeUF4aXNTZXR0aW5ncywgQWx0dWEuT2FrLkNvcmV1HhMBAQ3kARAAGQEwAD3oAUXsAUgBggE9QWx0dWEuT2FrLkNvcmUuVGhlbWluZy5QYWdlQ29sb3JTY2hlbWVQb2ludGVyLCBBbHR1YS5PYWsuQ29yZX0gAIQBAIgBSAQSBBDeEv+gt+OZUY2Brka6081VDBIEEDPzy9+WsUZNlYkcXeUtIccV8AEcEgQQ+SxZ/v3fb0W5/mfTI9KrIyQALfQBNfkBP4wBQgEAGAMlgAIpADEAQABIAlWEAl2IAmQSBBAz88vflrFGTZWJHF3lLSHHbYwCdZACjQGUApEBAZ0BmAKlAZwCtQGgApABAgEAlAEFBAMFpAKYAQUEAwWoApwBBQQDBawCoAEFBAMFsAKkAQUEAwWkAqgBBQQDBaQCrAEFBAMFtAKwAQUEAwW4ArQBBQQDBbwCuAEFBAMFwAK8AQUEAwXEAsABBQQDBcgCxAEFBAMFzALIAQUEAwXQAswBBQQDBdQC0AEFBAMF2ALUAQUEAwXcAtgBBQQDBeAC3AEFBAMF5ALgAQUEAwXoAuQBAgEA6AEGBe0CXAgE7AEGBfUCXAgE8AEFBfgCCAH0AQQFAAgB/gE+QWx0dWEuT2FrLkNvcmUuQ2hhcnQuRGVmYXVsdFBsb3RTZXJpZXNTZXR0aW5ncywgQWx0dWEuT2FrLkNvcmX5AT8AgAILAwAAAAAAAAAACAKEAgsDAAAAAAAAAAAIAYgCCwMAAAAAAAAAAAgBjAIVBfwCDYADFYQDHYgDJYwDLZADNZQDkAIHDZgDFZ0DXJQCCwMAAAAAAAAAAAgEmAIGBaEDXAgEnAIGBaEDXAgEoAIFBAMFpAOkAgIBAKgCDgEGqAOsA7ADtAO4A7wDrAIEAQHAA7ACAgEAtAICAQC4AgIBALwCDgEGxAPIA8wD0APUA9gDwAICAQDEAg4BBtwD4APkA+gD7APwA8gCEAEH9AP4A/wDgASEBIgEjATMAgIBANACBAEBkATUAgoBBJQEmAScBKAE2AICAQDcAgIBAOACAgEA5AICAQDoAgIBAPICM0FsdHVhLk9hay5Db3JlLlRoZW1pbmcuQ29sb3JQb2ludGVyLCBBbHR1YS5PYWsuQ29yZe0CXFBQUP/1AlxQUFD/+AIFBAMFpAT8AgcEAwQBAAgEgAMFBAEuCASEAwQAAQgEiAMEAAAIBIwDBAQACASQAwQEAAgElAMEAAAIBJgDBQQDBagEnQNcPj7l/6EDXFBQUP+kAwIBAKgDDgWtBIwBCwAAAAAAAAAArAMOBbUEjgELAAAAAAAAAACwAw4FvQSQAQsAAAAAAADgP7QDDgXFBJIBCwAAAAAAAOA/uAMOBc0ElAELAAAAAAAA4D+8Aw4F1QSWAQsAAAAAAAD4P8ADCAXdBJQBDeAExAMKBeUEmgEN7QScAcgDCgX1BIwBDfkEnwHMAwoFgQWQAQ2FBZ8B0AMKBYkFkgENjQWfAdQDCQWRBaUBDZkFXNgDCQWdBagBDaUFXNwDBwWpBasBCQHgAwcFsQWtAQkA5AMHBbkFqwEJAegDBwW9BbABCQHsAwcFxQWyAQkB8AMHBc0FtAEJAfQDCgXVBbYBDd0FuAH4AwoF5QW6AQ3tBbwB/AMKBfUFvgEN/QXAAYAECgWFBr4BDf0FwAGEBAoFiQatAQ2NBsQBiAQKBZUGsgENjQbEAYwECgWZBrQBDZ0GyAGQBAoFpQbKAQ2tBswBlAQKBbUGrQENuQbPAZgECgXBBroBDcUGzwGcBAoFyQayAQ3NBs8BoAQKBdEGtgEN1QbPAaQEBgEB2QbXAagEBAECAQSyBFNBbHR1YS5PYWsuQ29yZS5Nb2RpZmljYXRpb24uU3R5bGluZy5BbGxWYWx1ZUF4aXNDdXN0b21pemF0aW9uVGFyZ2V0LCBBbHR1YS5PYWsuQ29yZa0EjAEAugRZQWx0dWEuT2FrLkNvcmUuTW9kaWZpY2F0aW9uLlN0eWxpbmcuVmFsdWVBeGlzR3JpZGxpbmVzQ3VzdG9taXphdGlvblRhcmdldCwgQWx0dWEuT2FrLkNvcmW1BI4BAMIEU0FsdHVhLk9hay5Db3JlLk1vZGlmaWNhdGlvbi5TdHlsaW5nLkNhdGVnb3J5QXhpc0N1c3RvbWl6YXRpb25UYXJnZXQsIEFsdHVhLk9hay5Db3JlvQSQAQDKBFBBbHR1YS5PYWsuQ29yZS5Nb2RpZmljYXRpb24uU3R5bGluZy5Pcmlnb0xpbmVDdXN0b21pemF0aW9uVGFyZ2V0LCBBbHR1YS5PYWsuQ29yZcUEkgEA0gRdQWx0dWEuT2FrLkNvcmUuTW9kaWZpY2F0aW9uLlN0eWxpbmcuQWxsQ29ubmVjdG9yc0F1eGlsaWFyeUN1c3RvbWl6YXRpb25UYXJnZXQsIEFsdHVhLk9hay5Db3JlzQSUAQDaBFlBbHR1YS5PYWsuQ29yZS5Nb2RpZmljYXRpb24uU3R5bGluZy5TZXJpZXNXaXRoUGxvdEtpbmRDdXN0b21pemF0aW9uVGFyZ2V0LCBBbHR1YS5PYWsuQ29yZdUElgEDBeAG3QSUAQDgBAUMAwXkBuoEVkFsdHVhLk9hay5Db3JlLk1vZGlmaWNhdGlvbi5TdHlsaW5nLkFsbFNlcmllc01hcmtlckN1c3RvbWl6YXRpb25UYXJnZXQsIEFsdHVhLk9hay5Db3Jl5QSaAQDyBDpBbHR1YS5PYWsuQ29yZS5UaGVtaW5nLkJpbmRpbmdDb2xvclBvaW50ZXIsIEFsdHVhLk9hay5Db3Jl7QScAQUF6QbbAfUEjAEA/gQ3QWx0dWEuT2FrLkNvcmUuVGhlbWluZy5QYWdlQ29sb3JQb2ludGVyLCBBbHR1YS5PYWsuQ29yZfkEnwEEAAAIAIEFkAEAhQWfAQQAAAgAiQWSAQCNBZ8BBAAACACWBVNBbHR1YS5PYWsuQ29yZS5Nb2RpZmljYXRpb24uU3R5bGluZy5BbGxHcmlkbGluZXNDdXN0b21pemF0aW9uVGFyZ2V0LCBBbHR1YS5PYWsuQ29yZZEFpQEAmQVcgICA/6IFTUFsdHVhLk9hay5Db3JlLk1vZGlmaWNhdGlvbi5TdHlsaW5nLlNlcmllc0N1c3RvbWl6YXRpb25UYXJnZXQsIEFsdHVhLk9hay5Db3JlnQWoARQEEgQQ3hL/oLfjmVGNga5GutPNVaUFXAAAwP+uBVhBbHR1YS5PYWsuQ29yZS5Nb2RpZmljYXRpb24uU3R5bGluZy5TZXJpZXNMYWJlbE9mVHlwZUN1c3RvbWl6YXRpb25UYXJnZXQsIEFsdHVhLk9hay5Db3JlqQWrAQIAArYFWEFsdHVhLk9hay5Db3JlLk1vZGlmaWNhdGlvbi5TdHlsaW5nLkFsbFZhbHVlQXhpc0xhYmVsQ3VzdG9taXphdGlvblRhcmdldCwgQWx0dWEuT2FrLkNvcmWxBa0BALkFqwECAADCBVVBbHR1YS5PYWsuQ29yZS5Nb2RpZmljYXRpb24uU3R5bGluZy5BbGxUb3RhbExhYmVsc0N1c3RvbWl6YXRpb25UYXJnZXQsIEFsdHVhLk9hay5Db3JlvQWwAQDKBVdBbHR1YS5PYWsuQ29yZS5Nb2RpZmljYXRpb24uU3R5bGluZy5BbGxDYXRlZ29yeUxhYmVsQ3VzdG9taXphdGlvblRhcmdldCwgQWx0dWEuT2FrLkNvcmXFBbIBANIFWEFsdHVhLk9hay5Db3JlLk1vZGlmaWNhdGlvbi5TdHlsaW5nLkFsbEF1eGlsaWFyeUxhYmVsQ3VzdG9taXphdGlvblRhcmdldCwgQWx0dWEuT2FrLkNvcmXNBbQBANoFWEFsdHVhLk9hay5Db3JlLk1vZGlmaWNhdGlvbi5TdHlsaW5nLkNhdGVnb3J5QXhpc1RpdGxlQ3VzdG9taXphdGlvblRhcmdldCwgQWx0dWEuT2FrLkNvcmXVBbYBAOIFRkFsdHVhLk9hay5Db3JlLlBsb3R0aW5nLkF4aXNUaXRsZUxhYmVsUGxhY2VtZW50T3V0c2lkZSwgQWx0dWEuT2FrLkNvcmXdBbgBAgAB6gVdQWx0dWEuT2FrLkNvcmUuTW9kaWZpY2F0aW9uLlN0eWxpbmcuQWxsVmFsdWVBeGlzVGl0bGVMYWJlbEN1c3RvbWl6YXRpb25UYXJnZXQsIEFsdHVhLk9hay5Db3Jl5QW6AQDyBUJBbHR1YS5PYWsuQ29yZS5QbG90dGluZy5BeGlzVGl0bGVMYWJlbFBsYWNlbWVudEZhciwgQWx0dWEuT2FrLkNvcmXtBbwBAgAA+gVfQWx0dWEuT2FrLkNvcmUuTW9kaWZpY2F0aW9uLlN0eWxpbmcuU2VyaWVzTGFiZWxzV2l0aFBsb3RLaW5kQ3VzdG9taXphdGlvblRhcmdldCwgQWx0dWEuT2FrLkNvcmX1Bb4BBQXwBggAggY9QWx0dWEuT2FrLkNvcmUuUGxvdHRpbmcuTGFiZWxQbGFjZW1lbnRPdXRzaWRlLCBBbHR1YS5PYWsuQ29yZf0FwAEAhQa+AQUF9AYIAIkGrQEAkgZBQWx0dWEuT2FrLkNvcmUuUGxvdHRpbmcuQXhpc0xhYmVsUGxhY2VtZW50T3V0c2lkZSwgQWx0dWEuT2FrLkNvcmWNBsQBAgEAlQayAQCZBrQBAKIGRkFsdHVhLk9hay5Db3JlLlBsb3R0aW5nLkF1eGlsaWFyeUxhYmVsUGxhY2VtZW50RGVmYXVsdCwgQWx0dWEuT2FrLkNvcmWdBsgBAKoGUEFsdHVhLk9hay5Db3JlLk1vZGlmaWNhdGlvbi5TdHlsaW5nLkFsbExhYmVsc0N1c3RvbWl6YXRpb25UYXJnZXQsIEFsdHVhLk9hay5Db3JlpQbKAQCyBkJBbHR1YS5PYWsuQ29yZS5TeW50YXhTdHJ1Y3R1cmUuQWN0dWFsRm9udFNpemVWYWx1ZSwgQWx0dWEuT2FrLkNvcmWtBswBCQMAAAAAAAAiQLUGrQEAvgZDQWx0dWEuT2FrLkNvcmUuU3ludGF4U3RydWN0dXJlLkFjdHVhbEZvbnRDb2xvclZhbHVlLCBBbHR1YS5PYWsuQ29yZbkGzwEFBfkGnwHBBroBAMUGzwEFBf0GnwHJBrIBAM0GzwEFBYEHnwHRBrYBANUGzwEFBYUHnwHeBi9BbHR1YS5EYXRhLkluZnJhc3RydWN0dXJlLlBhcmFncmFwaCwgQWx0dWEuRGF0YdkG1wEFDAMFiAfgBgEF5AYKAQIAAIBAAABAQO4GSEFsdHVhLk9hay5Db3JlLlN5bnRheFN0cnVjdHVyZS5QbG90U2VyaWVzQmluZGluZ1N0cmF0ZWd5LCBBbHR1YS5PYWsuQ29yZekG2wEA8AYCCQr0BgEF+QafAQQAAAgA/QafAQQAAAgAgQefAQQAAAgAhQefAQQAAAgAiAcGAQGNB+QBkgctQWx0dWEuRGF0YS5JbmZyYXN0cnVjdHVyZS5UZXh0UnVuLCBBbHR1YS5EYXRhjQfkAREEDE5laS9WZXQgaWtrZQ2UB5QHEgQAHAAkACwANAA8AEwAVABdAA=="/>
  <p:tag name="GRUNT-SYNC" val="5ec244a5adae4f1b8d9b831efb0c084b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1f48641c-cf51-45b2-9f1d-72b1737ab65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0zQKN0FsdHVhLkRhdGEuRGF0YVNlcnZpY2VzLkVtYmVkZGVkRGF0YVNlcnZpY2UsIEFsdHVhLkRhdGEFAhkEEgQQIrFwxLBA20OBUqh5sjnaGg0MJREFDAYFGAgUEAUWQUFsdHVhLkRhdGEuRGF0YVNlcnZpY2VzLkVtYmVkZGVkRGF0YVNlcnZpY2VFZGl0b3JEYXRhLCBBbHR1YS5EYXRhEQUEBRwNIBgGBSQNKBUsHFodBBIEEFmfYeZYkT9IhCqevPceZUYLAAAAAACAWkAdBBIEEB/rjDimIctLiTIXQgTfWDQLAAAAAAAgYkAdBBIEEJLdtA9dCDFOqWdiBFoEqCELAAAAAABAU0AgHh0EEgQQhB+R4huFNUGwuFZrPUlJDwsAAAAAAAAyQCQKMDQ4PEBESExQVCgDWFxgLN0KLAQoBBIEENqNKxB7T5pMmUYr804v+BwMEgQQX5eQl8Rau0KbEDAGcU7FWQ1kLAQoBBIEEPypbwQ4W9tJlyIZKJIfZA0MEgQQ6NwaFbIJ/EeQekLL/HFgWw1oLAQoBBIEEHWemJFcQytHgI2gyx3vlOMMEgQQX5eQl8Rau0KbEDAGcU7FWQ1sLAQoBBIEEDCXbxoiVXRHvnak1iAge44MEgQQX5eQl8Rau0KbEDAGcU7FWQ1wLAQoBBIEEB/rjDimIctLiTIXQgTfWDQMEgQQ6NwaFbIJ/EeQekLL/HFgWw10LAQoBBIEEF+80N3ISWRCmX2M/DbAgFsMEgQQ6NwaFbIJ/EeQekLL/HFgWw14LAQoBBIEEDQts8N3BDRHn/g9/7Izby8MEgQQX5eQl8Rau0KbEDAGcU7FWQ18LQQoBBIEEDQts8N3BDRHn/g9/7Izby8MEgQQ6NwaFbIJ/EeQekLL/HFgWw2AAS0EKAQSBBAf64w4piHLS4kyF0IE31g0DBIEEF+XkJfEWrtCmxAwBnFOxVkNhAEtBCgEEgQQjTNBoordaU+2MxHU0FK90gwSBBBfl5CXxFq7QpsQMAZxTsVZDYgBLQQoBBIEEI0zQaKK3WlPtjMR1NBSvdIMEgQQ6NwaFbIJ/EeQekLL/HFgWw2MAS0EKAQSBBDBOhb6WKd/TL/hLcTZ9bTHDBIEEOjcGhWyCfxHkHpCy/xxYFsNkAEtBCgEEgQQaaSGShLhTUafbswYVa8lNwwSBBDo3BoVsgn8R5B6Qsv8cWBbDZQBLQQoBBIEENqNKxB7T5pMmUYr804v+BwMEgQQ+SxZ/v3fb0W5/mfTI9KrIw2YAS0EKAQSBBB1npiRXEMrR4CNoMsd75TjDBIEEPksWf79329Fuf5n0yPSqyMNnAEtBCgEEgQQaaSGShLhTUafbswYVa8lNwwSBBD5LFn+/d9vRbn+Z9Mj0qsjDaABLQQoBBIEEF+80N3ISWRCmX2M/DbAgFsMEgQQ+SxZ/v3fb0W5/mfTI9KrIw2kAS0EKAQSBBDBOhb6WKd/TL/hLcTZ9bTHDBIEEF+XkJfEWrtCmxAwBnFOxVkNqAEtBCgEEgQQMJdvGiJVdEe+dqTWICB7jgwSBBD5LFn+/d9vRbn+Z9Mj0qsjDawBLQQoBBIEEDQts8N3BDRHn/g9/7Izby8MEgQQ+SxZ/v3fb0W5/mfTI9KrIw2wAS0EKAQSBBBppIZKEuFNRp9uzBhVryU3DBIEEF+XkJfEWrtCmxAwBnFOxVkNtAEtBCgEEgQQjTNBoordaU+2MxHU0FK90gwSBBD5LFn+/d9vRbn+Z9Mj0qsjDbgBLQQoBBIEEPypbwQ4W9tJlyIZKJIfZA0MEgQQ+SxZ/v3fb0W5/mfTI9KrIw28AS0EKAQSBBDBOhb6WKd/TL/hLcTZ9bTHDBIEEPksWf79329Fuf5n0yPSqyMNwAEtBCgEEgQQ2o0rEHtPmkyZRivzTi/4HAwSBBDo3BoVsgn8R5B6Qsv8cWBbDcQBLQQoBBIEEF+80N3ISWRCmX2M/DbAgFsMEgQQX5eQl8Rau0KbEDAGcU7FWQ3IAS0EKAQSBBAf64w4piHLS4kyF0IE31g0DBIEEPksWf79329Fuf5n0yPSqyMNzAEtBCgEEgQQ/KlvBDhb20mXIhkokh9kDQwSBBBfl5CXxFq7QpsQMAZxTsVZDdABLQQoBBIEEHWemJFcQytHgI2gyx3vlOMMEgQQ6NwaFbIJ/EeQekLL/HFgWw3UAS0EKAQSBBAwl28aIlV0R752pNYgIHuODBIEEOjcGhWyCfxHkHpCy/xxYFsN2AEwGgQSBBDajSsQe0+aTJlGK/NOL/gcDAJDMRkBNBoEEgQQH+uMOKYhy0uJMhdCBN9YNAwCQzIZATgaBBIEEHWemJFcQytHgI2gyx3vlOMMAkMzGQE8GwQSBBCNM0Giit1pT7YzEdTQUr3SDANDMTIZAUAbBBIEEDQts8N3BDRHn/g9/7Izby8MA0MxMxkBRBsEEgQQwToW+linf0y/4S3E2fW0xwwDQzE0GQFIGwQSBBBfvNDdyElkQpl9jPw2wIBbDANDMTUZAUwbBBIEEPypbwQ4W9tJlyIZKJIfZA0MA0MxNhkBUBsEEgQQMJdvGiJVdEe+dqTWICB7jgwDQzE3GQFUGwQSBBBppIZKEuFNRp9uzBhVryU3DANDMTgZAVgaBBIEEF+XkJfEWrtCmxAwBnFOxVkMAlIxGQFcGgQSBBDo3BoVsgn8R5B6Qsv8cWBbDAJSMhkBYBoEEgQQ+SxZ/v3fb0W5/mfTI9KrIwwCUjMZAWQGDdwBFeABaAYN5AEV6AFsBg3cARXsAXAGDfABFfQBdAYN3AEV+AF4Bg3kARX8AXwGDfABFYACgAEGDeQBFYQChAEGDdwBFYgCiAEGDfABFYwCjAEGDeQBFZACkAEGDeQBFZQClAEGDeQBFZgCmAEGDdwBFZwCnAEGDdwBFaACoAEGDeQBFaQCpAEGDeQBFagCqAEGDfABFawCrAEGDeQBFbACsAEGDeQBFbQCtAEGDfABFbgCuAEGDeQBFbwCvAEGDeQBFcACwAEGDeQBFcQCxAEGDdwBFcgCyAEGDfABFcwCzAEGDdwBFdAC0AEGDfABFdQC1AEGDdwBFdgC2AEGDeQBFdwC3AECBADgAQUEAwXgAuQBAgQA6AEFBAMF5ALsAQUEAwXoAvABAgQA9AEFBAMF7AL4AQUEAwXwAvwBBQQDBfQCgAIFBAMF+AKEAgUEAwX8AogCBQQDBYADjAIFBAMFhAOQAgUEAwWIA5QCBQQDBYwDmAIFBAMFkAOcAgUEAwWUA6ACBQQDBZgDpAIFBAMFnAOoAgUEAwWgA6wCBQQDBaQDsAIFBAMFqAO0AgUEAwWsA7gCBQQDBbADvAIFBAMFtAPAAgUEAwW4A8QCBQQDBbwDyAIFBAMFwAPMAgUEAwXEA9ACBQQDBcgD1AIFBAMFzAPYAgUEAwXQA9wCBQQDBdQD4AICAQDkAgUBAdkDd+gCBQEB4QN37AIFAQHlA3fwAgUBAekDd/QCBQEB7QN3+AIFAQHxA3f8AgUBAfUDd4ADBQEB+QN3hAMFAQH9A3eIAwUBAYEEd4wDBQEBhQR3kAMFAQGJBHeUAwUBAY0Ed5gDBQEBkQR3nAMFAQGVBHegAwUBAZkEd6QDBQEBnQR3qAMFAQGhBHesAwUBAaUEd7ADBQEBqQR3tAMFAQGtBHe4AwUBAbEEd7wDBQEBtQR3wAMFAQG5BHfEAwUBAb0Ed8gDBQEBwQR3zAMFAQHFBHfQAwUBAckEd9QDBQEBzQR33gMvQWx0dWEuRGF0YS5JbmZyYXN0cnVjdHVyZS5QYXJhZ3JhcGgsIEFsdHVhLkRhdGHZA3cFDAMF0AThA3cFDAMF1ATlA3cFDAMF2ATpA3cFDAMF3ATtA3cFDAMF4ATxA3cFDAMF5AT1A3cFDAMF6AT5A3cFDAMF7AT9A3cFDAMF8ASBBHcFDAMF9ASFBHcFDAMF+ASJBHcFDAMF/ASNBHcFDAMFgAWRBHcFDAMFhAWVBHcFDAMFiAWZBHcFDAMFjAWdBHcFDAMFkAWhBHcFDAMFlAWlBHcFDAMFmAWpBHcFDAMFnAWtBHcFDAMFoAWxBHcFDAMFpAW1BHcFDAMFqAW5BHcFDAMFrAW9BHcFDAMFsAXBBHcFDAMFtAXFBHcFDAMFuAXJBHcFDAMFvAXNBHcFDAMFwAXQBAYBAcUFsgHUBAYBAc0FtAHYBAYBAdUFtAHcBAYBAdkFsgHgBAYBAd0FsgHkBAYBAeEFtAHoBAYBAeUFsgHsBAYBAekFtAHwBAYBAe0FtAH0BAYBAfEFsgH4BAYBAfUFsgH8BAYBAfkFsgGABQYBAf0FsgGEBQYBAYEGsgGIBQYBAYUGsgGMBQYBAYkGsgGQBQYBAY0GtAGUBQYBAZEGsgGYBQYBAZUGsgGcBQYBAZkGtAGgBQYBAZ0GsgGkBQYBAaEGsgGoBQYBAaUGsgGsBQYBAakGsgGwBQYBAa0GtAG0BQYBAbEGsgG4BQYBAbUGtAG8BQYBAbkGsgHABQYBAb0GsgHKBS9BbHR1YS5EYXRhLkluZnJhc3RydWN0dXJlLk51bWJlclJ1biwgQWx0dWEuRGF0YcUFsgETBA4DAAAAAAAAKkAdwQbRAQ3IBtIFLUFsdHVhLkRhdGEuSW5mcmFzdHJ1Y3R1cmUuVGV4dFJ1biwgQWx0dWEuRGF0Yc0FtAEZBBRLcmF2IGZyYSBteW5kaWdoZXRlcg3MBtUFtAEKBAVBbm5ldA3MBtkFsgETBA4DAAAAAAAAAEAd0QbRAQ3UBt0FsgETBA4DAAAAAAAAMkAd2QbRAQ3cBuEFtAEnBCJIb2xkbmluZ2VyL21lbmluZ2VyIGhvcyBkZSBhbnNhdHRlDcwG5QWyARMEDgMAAAAAAAAUQB3hBtEBDdQG6QW0ASIEHUV0dGVyc3DDuHJzZWwgZnJhIGlubmJ5Z2dlcm5lDeQG7QW0AR0EGFRpbGdhbmcgdGlsIGZpbmFuc2llcmluZw3MBvEFsgETBA4DAAAAAAAACEAd6QbRAQ3UBvUFsgETBA4DAAAAAAAAHEAd7QbRAQ3UBvkFsgETBA4DAAAAAAAAAAAd8QbRAQ3UBv0FsgETBA4DAAAAAACgn0Ad9QbRAQ34BoEGsgETBA4DAAAAAACARkAd/QbRAQ2AB4UGsgETBA4DAAAAAAAAAAAdhQfRAQ3UBokGsgETBA4DAAAAAAAAFEAdiQfRAQ3UBo0GtAEOBAlUZWtub2xvZ2kNzAaRBrIBEwQOAwAAAAAAABRAHY0H0QEN1AaVBrIBEwQOAwAAAAAAACBAHZEH0QEN1AaZBrQBDQQIVmV0IGlra2UNlAedBrIBEwQOAwAAAAAAAChAHZkH0QENnAehBrIBEwQOAwAAAAAAAC5AHaEH0QENpAelBrIBEwQOAwAAAAAAABBAHakH0QEN1AapBrIBEwQOAwAAAAAAnJ9AHfUG0QEN+AatBrQBDQQIw5hrb25vbWkNzAaxBrIBEwQOAwAAAAAAABRAHa0H0QEN1Aa1BrQBDwQKS29tcGV0YW5zZQ3MBrkGsgETBA4DAAAAAAAASUAdsQfRAQ20B70GsgETBA4DAAAAAAAACEAduQfRAQ3UBsYGPUFsdHVhLkRhdGEuTnVtYmVyRm9ybWF0dGluZy5Db21wb3NpdGVOdW1iZXJGb3JtYXQsIEFsdHVhLkRhdGHBBtEBCx28ByXABzXEBz0AyAYSBAAcACQALAA0ADwATABUAF0AzAYSBAAcACQALAA0ADwATABUAF0A0QbRAQsdyAclzAc10Ac9ANQGEgQAHAAkACwANAA8AEwAVABdANkG0QELHdQHJdgHNdwHPQDcBhIEABwAJAAsADQAPABMAFQAXQDhBtEBCx3gByXkBzXoBz0A5AYSBAAcACQALAA0ADwATABUAF0A6QbRAQsd7Acl8Ac19Ac9AO0G0QELHfgHJfwHNYAIPQDxBtEBCx2ECCWICDWMCD0A9QbRAQsdkAgllAg1mAg9APgGEgQAHAAkACwANAA8AEwAVABdAP0G0QELHZwIJaAINaQIPQCABxIEABwAJAAsADQAPABMAFQAXQCFB9EBCx2oCCWsCDWwCD0AiQfRAQsdtAgluAg1vAg9AI0H0QELHcAIJcQINcgIPQCRB9EBCx3MCCXQCDXUCD0AlAcSBAAcACQALAA0ADwATABUAF0AmQfRAQsd2Agl3Ag14Ag9AJwHEgQAHAAkACwANAA8AEwAVABdAKEH0QELHeQIJegINewIPQCkBxIEABwAJAAsADQAPABMAFQAXQCpB9EBCx3wCCX0CDX4CD0ArQfRAQsd/AglgAk1hAk9ALEH0QELHYgJJYwJNZAJPQC0BxIEABwAJAAsADQAPABMAFQAXQC5B9EBCx2UCSWYCTWcCT0AvAcJAAAMAwWgCREAwAcJAAAMAwWkCREAxAcKBAEsDAEuFAJrcsgHCQAADAMFqAkRAMwHCQAADAMFrAkRANAHCgQBLAwBLhQCa3LUBwkAAAwDBbAJEQDYBwkAAAwDBbQJEQDcBwoEASwMAS4UAmty4AcJAAAMAwW4CREA5AcJAAAMAwW8CREA6AcKBAEsDAEuFAJrcuwHCQAADAMFwAkRAPAHCQAADAMFxAkRAPQHCgQBLAwBLhQCa3L4BwkAAAwDBcgJEQD8BwkAAAwDBcwJEQCACAoEASwMAS4UAmtyhAgJAAAMAwXQCREAiAgJAAAMAwXUCREAjAgKBAEsDAEuFAJrcpAICQAADAMF2AkRAJQICQAADAMF3AkRAJgICgQBLAwBLhQCa3KcCAkAAAwDBeAJEQCgCAkAAAwDBeQJEQCkCAoEASwMAS4UAmtyqAgJAAAMAwXoCREArAgJAAAMAwXsCREAsAgKBAEsDAEuFAJrcrQICQAADAMF8AkRALgICQAADAMF9AkRALwICgQBLAwBLhQCa3LACAkAAAwDBfgJEQDECAkAAAwDBfwJEQDICAoEASwMAS4UAmtyzAgJAAAMAwWAChEA0AgJAAAMAwWEChEA1AgKBAEsDAEuFAJrctgICQAADAMFiAoRANwICQAADAMFjAoRAOAICgQBLAwBLhQCa3LkCAkAAAwDBZAKEQDoCAkAAAwDBZQKEQDsCAoEASwMAS4UAmty8AgJAAAMAwWYChEA9AgJAAAMAwWcChEA+AgKBAEsDAEuFAJrcvwICQAADAMFoAoRAIAJCQAADAMFpAoRAIQJCgQBLAwBLhQCa3KICQkAAAwDBagKEQCMCQkAAAwDBawKEQCQCQoEASwMAS4UAmtylAkJAAAMAwWwChEAmAkJAAAMAwW0ChEAnAkKBAEsDAEuFAJrcqAJBgEBuQrPAqQJCgECwQrRArkKzwKoCQYBAckKzwKsCQoBAs0K0QLJCs8CsAkGAQHRCs8CtAkKAQLVCtEC0QrPArgJBgEB2QrPArwJCgEC3QrRAtkKzwLACQYBAeEKzwLECQoBAuUK0QLhCs8CyAkGAQHpCs8CzAkKAQLtCtEC6QrPAtAJBgEB8QrPAtQJCgEC9QrRAvEKzwLYCQYBAfkK3wLcCQoBAoEL0QKFC98C4AkGAQGJC88C5AkKAQKNC9ECiQvPAugJBgEBkQvPAuwJCgEClQvRApELzwLwCQYBAZkLzwL0CQoBAp0L0QKZC88C+AkGAQGhC88C/AkKAQKlC9ECoQvPAoAKBgEBqQvPAoQKCgECrQvRAqkLzwKICgYBAbELzwKMCgoBArUL0QKxC88CkAoGAQG5C88ClAoKAQK9C9ECuQvPApgKBgEBwQvPApwKCgECxQvRAsELzwKgCgYBAckLzwKkCgoBAs0L0QLJC88CqAoGAQHRC88CrAoKAQLVC9EC0QvPArAKBgEB2QvPArQKCgEC3QvRAtkLzwK+CkBBbHR1YS5EYXRhLk51bWJlckZvcm1hdHRpbmcuTnVtYmVyRm9ybWF0VmFsdWVTZWdtZW50LCBBbHR1YS5EYXRhuQrPAgUEAwXgC8YKP0FsdHVhLkRhdGEuTnVtYmVyRm9ybWF0dGluZy5OdW1iZXJGb3JtYXRUZXh0U2VnbWVudCwgQWx0dWEuRGF0YcEK0QIFBAEtCQHJCs8CBQQDBeQLzQrRAgUEAS0JAdEKzwIFBAMF6AvVCtECBQQBLQkB2QrPAgUEAwXsC90K0QIFBAEtCQHhCs8CBQQDBfAL5QrRAgUEAS0JAekKzwIFBAMF9AvtCtECBQQBLQkB8QrPAgUEAwX4C/UK0QIFBAEtCQH+CkJBbHR1YS5EYXRhLk51bWJlckZvcm1hdHRpbmcuTnVtYmVyRm9ybWF0R2VuZXJhbFNlZ21lbnQsIEFsdHVhLkRhdGH5Ct8CAIEL0QIFBAEtCQGFC98CAIkLzwIFBAMF/AuNC9ECBQQBLQkBkQvPAgUEAwWADJUL0QIFBAEtCQGZC88CBQQDBYQMnQvRAgUEAS0JAaELzwIFBAMFiAylC9ECBQQBLQkBqQvPAgUEAwWMDK0L0QIFBAEtCQGxC88CBQQDBZAMtQvRAgUEAS0JAbkLzwIFBAMFlAy9C9ECBQQBLQkBwQvPAgUEAwWYDMUL0QIFBAEtCQHJC88CBQQDBZwMzQvRAgUEAS0JAdELzwIFBAMFoAzVC9ECBQQBLQkB2QvPAgUEAwWkDN0L0QIFBAEtCQHgCwYBAakMiwPkCwYBAakMiwPoCwYBAakMiwPsCwYBAakMiwPwCwYBAakMiwP0CwYBAakMiwP4CwYBAakMiwP8CwYBAakMiwOADAYBAakMiwOEDAYBAakMiwOIDAYBAakMiwOMDAYBAakMiwOQDAYBAakMiwOUDAYBAakMiwOYDAYBAakMiwOcDAYBAakMiwOgDAYBAakMiwOkDAYBAakMiwOuDDlBbHR1YS5EYXRhLk51bWJlckZvcm1hdHRpbmcuTnVtYmVyUGxhY2Vob2xkZXIsIEFsdHVhLkRhdGGpDIsDBQIwAAAA"/>
  <p:tag name="GRUNT-RENDERHASH" val="b00cd59924dc6a7a6c0748a1b29999d7-svg"/>
  <p:tag name="GRUNT-X-SHAPEBOUNDS" val="ASIBBAAAAABYuT1AAAAAAACIYUAAAABgBqN4QAAAAAAAuHVAAA=="/>
  <p:tag name="GRUNT-X-PAGEOBJECT" val="AQUC1S8KOEFsdHVhLk9hay5Db3JlLkRvY3VtZW50TW9kZWwuQ2hhcnRPYmplY3QsIEFsdHVhLk9hay5Db3JlBQI1BBIEELS2pmzAYf9Dlqm1jGmkN/sMEgQQIrFwxLBA20OBUqh5sjnaGhUNBCUUNRg9HFUgZSQSUEFsdHVhLk9hay5Db3JlLkRvY3VtZW50TW9kZWwuVGVtcGxhdGluZy5DdXN0b21Qb3NpdGlvbkRlZmluaXRpb24sIEFsdHVhLk9hay5Db3JlDQQkBCIBBO7/P/z/z2hAAAAAAACQYUAAAACAAGBqQOP/P/n/r3VAFBMVKB0sNTA4AEU1DlU8XUBkAgVEGAQEAgVIHAIFTCALBVAMBW5iLU5PFVQkEAEBCQERARkBIQEpATEBOQAoFgQSBBAAAAAAAAAAAAAAAAAAAAAACAEsFgQSBBAAAAAAAAAAAAAAAAAAAAAACAEwADpHQWx0dWEuT2FrLkNvcmUuQ2hhcnQuQ2x1c3RlcmVkQmFyV2l0aExpbmVQbG90RGVmaW5pdGlvbiwgQWx0dWEuT2FrLkNvcmU1DjUEEgQQpb7uwLcvbkC3tn3H7L2q0BwCBVglXDVgPAIFZEkA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U9AH4AfwBgAKEAogCjAKQApQCmAKIAUkEEgQQOa6hS2PnK1Gv94eZJj3pqAwSBBAG6hJ8HFDXRK8Q+lOoTP+CFZwCHBIEEOjcGhWyCfxHkHpCy/xxYFskAQEtoAI1pQJKjAFJBBIEEN4S/6C345lRjYGuRrrTzVUMEgQQBuoSfBxQ10SvEPpTqEz/ghWsAhwSBBD5LFn+/d9vRbn+Z9Mj0qsjJAEBLbACNaUCSpABQgEAGAMltAIpADEAQANIAlW4Al28AmQSBBAG6hJ8HFDXRK8Q+lOoTP+CbcACdcQCjQHIApEBAZ0BzAKlAdACtQHUApQBAgEAmAEFBAMF2AKcAQUEAwXcAqABBQQDBeACpAEFBAMF5AKoAQUEAwXYAqwBBQQDBdgCsAEFBAMF6AK0AQUEAwXsArgBBQQDBfACvAEFBAMF9ALAAQUEAwX4AsQBBQQDBfwCyAEFBAMFgAPMAQUEAwWEA9ABBQQDBYgD1AEFBAMFjAPYAQUEAwWQA9wBBQQDBZQD4AEFBAMFmAPkAQUEAwWcA+gBAgEA7AEGBaEDaQgE8AEGBakDaQgE9AErBBIEELZ5fHLQQfJQqnl1ubK6ZJsMEgQQH+uMOKYhy0uJMhdCBN9YNBwBAfgBKwQSBBCt8ZGjGoJ1X7h1pm/wB+aNDBIEEHWemJFcQytHgI2gyx3vlOMcAQH8ASsEEgQQ5UsQX7IX2kOiGcxosmObZgwSBBCNM0Giit1pT7YzEdTQUr3SHAEBgAIrBBIEEI4LSy6D9KVBrAG0CINAOu4MEgQQNC2zw3cENEef+D3/sjNvLxwBAYQCKwQSBBCvd9agXuLsS7WaA3bFrNsbDBIEEME6FvpYp39Mv+EtxNn1tMccAQGIAisEEgQQz8kG34e+60Oe2ngO9TEX0AwSBBBfvNDdyElkQpl9jPw2wIBbHAEBjAIrBBIEELIspLdBXpxDouGcUg/mG34MEgQQ/KlvBDhb20mXIhkokh9kDRwBAZACKwQSBBBW7kP224NhSK2xIUn0GKQpDBIEEDCXbxoiVXRHvnak1iAge44cAQGUAisEEgQQd3apG5svGUWz+yWpPVgHTQwSBBBppIZKEuFNRp9uzBhVryU3HAEBmAIrBBIEEJuXSz36ALJEq0ua8pAu/b0MEgQQkt20D10IMU6pZ2IEWgSoIRwBAZwCBQWsAwgBoAIEBQAIAaoCPkFsdHVhLk9hay5Db3JlLkNoYXJ0LkRlZmF1bHRQbG90U2VyaWVzU2V0dGluZ3MsIEFsdHVhLk9hay5Db3JlpQJKAKwCBQWwAwgBsAIEBQAIAbQCCwMAAAAAAAAAAAgCuAILAwAAAAAAAAAACAG8AgsDAAAAAAAAAAAIAcACFQW0Aw24AxW8Ax3AAyXEAy3IAzXMA8QCBw3QAxXVA2nIAgsDAAAAAAAAAAAIBMwCBgXZA2kIBNACBgXZA2kIBNQCBQQDBdwD2AICAQDcAg4BBuAD5APoA+wD8AP0A+ACBAEB+APkAgIBAOgCAgEA7AICAQDwAg4BBvwDgASEBIgEjASQBPQCAgEA+AIOAQaUBJgEnASgBKQEqAT8AhABB6wEsAS0BLgEvATABMQEgAMCAQCEAwQBAcgEiAMKAQTMBNAE1ATYBIwDAgEAkAMCAQCUAwIBAJgDAgEAnAMCAQCmAzNBbHR1YS5PYWsuQ29yZS5UaGVtaW5nLkNvbG9yUG9pbnRlciwgQWx0dWEuT2FrLkNvcmWhA2lQUFD/qQNpUFBQ/6wDBQQDBdwEsAMFBAMF4AS0AwcEAwQBAAgEuAMFBAEuCAS8AwQAAQgEwAMEAAAIBMQDBAQACATIAwQEAAgEzAMEAAAIBNADBQQDBeQE1QNpPj7l/9kDaVBQUP/cAwIBAOADDgXpBJsBCwAAAAAAAAAA5AMOBfEEnQELAAAAAAAAAADoAw4F+QSfAQsAAAAAAADgP+wDDgWBBaEBCwAAAAAAAOA/8AMOBYkFowELAAAAAAAA4D/0Aw4FkQWlAQsAAAAAAAD4P/gDCAWZBaMBDZwF/AMKBaEFqQENqQWrAYAECgWxBZsBDbUFrgGEBAoFvQWfAQ3BBa4BiAQKBcUFoQENyQWuAYwECQXNBbQBDdUFaZAECQXZBbcBDeEFaZQEBwXlBboBCQGYBAcF7QW8AQkAnAQHBfUFugEJAaAEBwX5Bb8BCQGkBAcFgQbBAQkBqAQHBYkGwwEJAawECgWRBsUBDZkGxwGwBAoFoQbJAQ2pBssBtAQKBbEGzQENuQbPAbgECgXBBs0BDbkGzwG8BAoFxQa8AQ3JBtMBwAQKBdEGwQENyQbTAcQECgXVBsMBDdkG1wHIBAoF4QbZAQ3pBtsBzAQKBfEGvAEN9QbeAdAECgX9BskBDYEH3gHUBAoFhQfBAQ2JB94B2AQKBY0HxQENkQfeAdwEBgEBlQfmAeAEBgEBnQfmAeQEBAECAQTuBFNBbHR1YS5PYWsuQ29yZS5Nb2RpZmljYXRpb24uU3R5bGluZy5BbGxWYWx1ZUF4aXNDdXN0b21pemF0aW9uVGFyZ2V0LCBBbHR1YS5PYWsuQ29yZekEmwEA9gRZQWx0dWEuT2FrLkNvcmUuTW9kaWZpY2F0aW9uLlN0eWxpbmcuVmFsdWVBeGlzR3JpZGxpbmVzQ3VzdG9taXphdGlvblRhcmdldCwgQWx0dWEuT2FrLkNvcmXxBJ0BAP4EU0FsdHVhLk9hay5Db3JlLk1vZGlmaWNhdGlvbi5TdHlsaW5nLkNhdGVnb3J5QXhpc0N1c3RvbWl6YXRpb25UYXJnZXQsIEFsdHVhLk9hay5Db3Jl+QSfAQCGBVBBbHR1YS5PYWsuQ29yZS5Nb2RpZmljYXRpb24uU3R5bGluZy5Pcmlnb0xpbmVDdXN0b21pemF0aW9uVGFyZ2V0LCBBbHR1YS5PYWsuQ29yZYEFoQEAjgVdQWx0dWEuT2FrLkNvcmUuTW9kaWZpY2F0aW9uLlN0eWxpbmcuQWxsQ29ubmVjdG9yc0F1eGlsaWFyeUN1c3RvbWl6YXRpb25UYXJnZXQsIEFsdHVhLk9hay5Db3JliQWjAQCWBVlBbHR1YS5PYWsuQ29yZS5Nb2RpZmljYXRpb24uU3R5bGluZy5TZXJpZXNXaXRoUGxvdEtpbmRDdXN0b21pemF0aW9uVGFyZ2V0LCBBbHR1YS5PYWsuQ29yZZEFpQEDBaAHmQWjAQCcBQUMAwWkB6YFVkFsdHVhLk9hay5Db3JlLk1vZGlmaWNhdGlvbi5TdHlsaW5nLkFsbFNlcmllc01hcmtlckN1c3RvbWl6YXRpb25UYXJnZXQsIEFsdHVhLk9hay5Db3JloQWpAQCuBTpBbHR1YS5PYWsuQ29yZS5UaGVtaW5nLkJpbmRpbmdDb2xvclBvaW50ZXIsIEFsdHVhLk9hay5Db3JlqQWrAQUFqQfrAbEFmwEAugU3QWx0dWEuT2FrLkNvcmUuVGhlbWluZy5QYWdlQ29sb3JQb2ludGVyLCBBbHR1YS5PYWsuQ29yZbUFrgEEAAAIAL0FnwEAwQWuAQQAAAgAxQWhAQDJBa4BBAAACADSBVNBbHR1YS5PYWsuQ29yZS5Nb2RpZmljYXRpb24uU3R5bGluZy5BbGxHcmlkbGluZXNDdXN0b21pemF0aW9uVGFyZ2V0LCBBbHR1YS5PYWsuQ29yZc0FtAEA1QVpgICA/94FTUFsdHVhLk9hay5Db3JlLk1vZGlmaWNhdGlvbi5TdHlsaW5nLlNlcmllc0N1c3RvbWl6YXRpb25UYXJnZXQsIEFsdHVhLk9hay5Db3Jl2QW3ARQEEgQQOa6hS2PnK1Gv94eZJj3pqOEFaf+hL//qBVhBbHR1YS5PYWsuQ29yZS5Nb2RpZmljYXRpb24uU3R5bGluZy5TZXJpZXNMYWJlbE9mVHlwZUN1c3RvbWl6YXRpb25UYXJnZXQsIEFsdHVhLk9hay5Db3Jl5QW6AQIAAvIFWEFsdHVhLk9hay5Db3JlLk1vZGlmaWNhdGlvbi5TdHlsaW5nLkFsbFZhbHVlQXhpc0xhYmVsQ3VzdG9taXphdGlvblRhcmdldCwgQWx0dWEuT2FrLkNvcmXtBbwBAPUFugECAAD+BVVBbHR1YS5PYWsuQ29yZS5Nb2RpZmljYXRpb24uU3R5bGluZy5BbGxUb3RhbExhYmVsc0N1c3RvbWl6YXRpb25UYXJnZXQsIEFsdHVhLk9hay5Db3Jl+QW/AQCGBldBbHR1YS5PYWsuQ29yZS5Nb2RpZmljYXRpb24uU3R5bGluZy5BbGxDYXRlZ29yeUxhYmVsQ3VzdG9taXphdGlvblRhcmdldCwgQWx0dWEuT2FrLkNvcmWBBsEBAI4GWEFsdHVhLk9hay5Db3JlLk1vZGlmaWNhdGlvbi5TdHlsaW5nLkFsbEF1eGlsaWFyeUxhYmVsQ3VzdG9taXphdGlvblRhcmdldCwgQWx0dWEuT2FrLkNvcmWJBsMBAJYGWEFsdHVhLk9hay5Db3JlLk1vZGlmaWNhdGlvbi5TdHlsaW5nLkNhdGVnb3J5QXhpc1RpdGxlQ3VzdG9taXphdGlvblRhcmdldCwgQWx0dWEuT2FrLkNvcmWRBsUBAJ4GQkFsdHVhLk9hay5Db3JlLlBsb3R0aW5nLkF4aXNUaXRsZUxhYmVsUGxhY2VtZW50RmFyLCBBbHR1YS5PYWsuQ29yZZkGxwECAACmBl1BbHR1YS5PYWsuQ29yZS5Nb2RpZmljYXRpb24uU3R5bGluZy5BbGxWYWx1ZUF4aXNUaXRsZUxhYmVsQ3VzdG9taXphdGlvblRhcmdldCwgQWx0dWEuT2FrLkNvcmWhBskBAK4GRkFsdHVhLk9hay5Db3JlLlBsb3R0aW5nLkF4aXNUaXRsZUxhYmVsUGxhY2VtZW50T3V0c2lkZSwgQWx0dWEuT2FrLkNvcmWpBssBAgABtgZfQWx0dWEuT2FrLkNvcmUuTW9kaWZpY2F0aW9uLlN0eWxpbmcuU2VyaWVzTGFiZWxzV2l0aFBsb3RLaW5kQ3VzdG9taXphdGlvblRhcmdldCwgQWx0dWEuT2FrLkNvcmWxBs0BBQWwBwgAvgY9QWx0dWEuT2FrLkNvcmUuUGxvdHRpbmcuTGFiZWxQbGFjZW1lbnRPdXRzaWRlLCBBbHR1YS5PYWsuQ29yZbkGzwEAwQbNAQUFtAcIAMUGvAEAzgZBQWx0dWEuT2FrLkNvcmUuUGxvdHRpbmcuQXhpc0xhYmVsUGxhY2VtZW50T3V0c2lkZSwgQWx0dWEuT2FrLkNvcmXJBtMBAgEA0QbBAQDVBsMBAN4GRkFsdHVhLk9hay5Db3JlLlBsb3R0aW5nLkF1eGlsaWFyeUxhYmVsUGxhY2VtZW50RGVmYXVsdCwgQWx0dWEuT2FrLkNvcmXZBtcBAOYGUEFsdHVhLk9hay5Db3JlLk1vZGlmaWNhdGlvbi5TdHlsaW5nLkFsbExhYmVsc0N1c3RvbWl6YXRpb25UYXJnZXQsIEFsdHVhLk9hay5Db3Jl4QbZAQDuBkJBbHR1YS5PYWsuQ29yZS5TeW50YXhTdHJ1Y3R1cmUuQWN0dWFsRm9udFNpemVWYWx1ZSwgQWx0dWEuT2FrLkNvcmXpBtsBCQMAAAAAAAAiQPEGvAEA+gZDQWx0dWEuT2FrLkNvcmUuU3ludGF4U3RydWN0dXJlLkFjdHVhbEZvbnRDb2xvclZhbHVlLCBBbHR1YS5PYWsuQ29yZfUG3gEFBbkHrgH9BskBAIEH3gEFBb0HrgGFB8EBAIkH3gEFBcEHrgGNB8UBAJEH3gEFBcUHrgGaBy9BbHR1YS5EYXRhLkluZnJhc3RydWN0dXJlLlBhcmFncmFwaCwgQWx0dWEuRGF0YZUH5gEFDAMFyAedB+YBBQwDBcwHoAcBBaQHCgECAACAQAAAQECuB0hBbHR1YS5PYWsuQ29yZS5TeW50YXhTdHJ1Y3R1cmUuUGxvdFNlcmllc0JpbmRpbmdTdHJhdGVneSwgQWx0dWEuT2FrLkNvcmWpB+sBALAHAgkKtAcBBbkHrgEEAAAIAL0HrgEEAAAIAMEHrgEEAAAIAMUHrgEEAAAIAMgHBgEB0Qf1AcwHBgEB2Qf1AdYHL0FsdHVhLkRhdGEuSW5mcmFzdHJ1Y3R1cmUuTnVtYmVyUnVuLCBBbHR1YS5EYXRh0Qf1ARMEDgMAAAAAAJyfQB3dB/gBDeQH2Qf1ARMEDgMAAAAAAKCfQB3pB/gBDewH4gc9QWx0dWEuRGF0YS5OdW1iZXJGb3JtYXR0aW5nLkNvbXBvc2l0ZU51bWJlckZvcm1hdCwgQWx0dWEuRGF0Yd0H+AELHfAHJfQHNfgHPQDkBxIEABwAJAAsADQAPABMAFQAXQDpB/gBCx38ByWACDWECD0A7AcSBAAcACQALAA0ADwATABUAF0A8AcJAAAMAwWICBEA9AcJAAAMAwWMCBEA+AcKBAEsDAEuFAJrcvwHCQAADAMFkAgRAIAICQAADAMFlAgRAIQICgQBLAwBLhQCa3KICAYBAZkIhwKMCAoBAqEIiQKZCIcCkAgGAQGpCIcClAgKAQKtCIkCqQiHAp4IQEFsdHVhLkRhdGEuTnVtYmVyRm9ybWF0dGluZy5OdW1iZXJGb3JtYXRWYWx1ZVNlZ21lbnQsIEFsdHVhLkRhdGGZCIcCBQQDBbAIpgg/QWx0dWEuRGF0YS5OdW1iZXJGb3JtYXR0aW5nLk51bWJlckZvcm1hdFRleHRTZWdtZW50LCBBbHR1YS5EYXRhoQiJAgUEAS0JAakIhwIFBAMFtAitCIkCBQQBLQkBsAgGAQG5CI8CtAgGAQG5CI8Cvgg5QWx0dWEuRGF0YS5OdW1iZXJGb3JtYXR0aW5nLk51bWJlclBsYWNlaG9sZGVyLCBBbHR1YS5EYXRhuQiPAgUCMAAAAA=="/>
  <p:tag name="GRUNT-SYNC" val="48ed983a0edb4df9bb44b8224ebe71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8jQKN0FsdHVhLkRhdGEuRGF0YVNlcnZpY2VzLkVtYmVkZGVkRGF0YVNlcnZpY2UsIEFsdHVhLkRhdGEFAhkEEgQQzddvD5ToxUeX/DpmOImKmA0MJREFDAYFGAgUEAUWQUFsdHVhLkRhdGEuRGF0YVNlcnZpY2VzLkVtYmVkZGVkRGF0YVNlcnZpY2VFZGl0b3JEYXRhLCBBbHR1YS5EYXRhEQUEBRwNIBgGBSQNKBUsHFodBBIEEFmfYeZYkT9IhCqevPceZUYLAAAAAACAWkAdBBIEEB/rjDimIctLiTIXQgTfWDQLAAAAAAAgYkAdBBIEEJLdtA9dCDFOqWdiBFoEqCELAAAAAABAU0AgHh0EEgQQhB+R4huFNUGwuFZrPUlJDwsAAAAAAAAyQCQKMDQ4PEBESExQVCgDWFxgLN0KLAQoBBIEENqNKxB7T5pMmUYr804v+BwMEgQQX5eQl8Rau0KbEDAGcU7FWQ1kLAQoBBIEEPypbwQ4W9tJlyIZKJIfZA0MEgQQ6NwaFbIJ/EeQekLL/HFgWw1oLAQoBBIEEHWemJFcQytHgI2gyx3vlOMMEgQQX5eQl8Rau0KbEDAGcU7FWQ1sLAQoBBIEEDCXbxoiVXRHvnak1iAge44MEgQQX5eQl8Rau0KbEDAGcU7FWQ1wLAQoBBIEEB/rjDimIctLiTIXQgTfWDQMEgQQ6NwaFbIJ/EeQekLL/HFgWw10LAQoBBIEEF+80N3ISWRCmX2M/DbAgFsMEgQQ6NwaFbIJ/EeQekLL/HFgWw14LAQoBBIEEDQts8N3BDRHn/g9/7Izby8MEgQQX5eQl8Rau0KbEDAGcU7FWQ18LQQoBBIEEDQts8N3BDRHn/g9/7Izby8MEgQQ6NwaFbIJ/EeQekLL/HFgWw2AAS0EKAQSBBAf64w4piHLS4kyF0IE31g0DBIEEF+XkJfEWrtCmxAwBnFOxVkNhAEtBCgEEgQQjTNBoordaU+2MxHU0FK90gwSBBBfl5CXxFq7QpsQMAZxTsVZDYgBLQQoBBIEEI0zQaKK3WlPtjMR1NBSvdIMEgQQ6NwaFbIJ/EeQekLL/HFgWw2MAS0EKAQSBBDBOhb6WKd/TL/hLcTZ9bTHDBIEEOjcGhWyCfxHkHpCy/xxYFsNkAEtBCgEEgQQaaSGShLhTUafbswYVa8lNwwSBBDo3BoVsgn8R5B6Qsv8cWBbDZQBLQQoBBIEENqNKxB7T5pMmUYr804v+BwMEgQQ+SxZ/v3fb0W5/mfTI9KrIw2YAS0EKAQSBBB1npiRXEMrR4CNoMsd75TjDBIEEPksWf79329Fuf5n0yPSqyMNnAEtBCgEEgQQaaSGShLhTUafbswYVa8lNwwSBBD5LFn+/d9vRbn+Z9Mj0qsjDaABLQQoBBIEEF+80N3ISWRCmX2M/DbAgFsMEgQQ+SxZ/v3fb0W5/mfTI9KrIw2kAS0EKAQSBBDBOhb6WKd/TL/hLcTZ9bTHDBIEEF+XkJfEWrtCmxAwBnFOxVkNqAEtBCgEEgQQMJdvGiJVdEe+dqTWICB7jgwSBBD5LFn+/d9vRbn+Z9Mj0qsjDawBLQQoBBIEEDQts8N3BDRHn/g9/7Izby8MEgQQ+SxZ/v3fb0W5/mfTI9KrIw2wAS0EKAQSBBBppIZKEuFNRp9uzBhVryU3DBIEEF+XkJfEWrtCmxAwBnFOxVkNtAEtBCgEEgQQjTNBoordaU+2MxHU0FK90gwSBBD5LFn+/d9vRbn+Z9Mj0qsjDbgBLQQoBBIEEPypbwQ4W9tJlyIZKJIfZA0MEgQQ+SxZ/v3fb0W5/mfTI9KrIw28AS0EKAQSBBDBOhb6WKd/TL/hLcTZ9bTHDBIEEPksWf79329Fuf5n0yPSqyMNwAEtBCgEEgQQ2o0rEHtPmkyZRivzTi/4HAwSBBDo3BoVsgn8R5B6Qsv8cWBbDcQBLQQoBBIEEF+80N3ISWRCmX2M/DbAgFsMEgQQX5eQl8Rau0KbEDAGcU7FWQ3IAS0EKAQSBBAf64w4piHLS4kyF0IE31g0DBIEEPksWf79329Fuf5n0yPSqyMNzAEtBCgEEgQQ/KlvBDhb20mXIhkokh9kDQwSBBBfl5CXxFq7QpsQMAZxTsVZDdABLQQoBBIEEHWemJFcQytHgI2gyx3vlOMMEgQQ6NwaFbIJ/EeQekLL/HFgWw3UAS0EKAQSBBAwl28aIlV0R752pNYgIHuODBIEEOjcGhWyCfxHkHpCy/xxYFsN2AEwGgQSBBDajSsQe0+aTJlGK/NOL/gcDAJDMRkBNBoEEgQQH+uMOKYhy0uJMhdCBN9YNAwCQzIZATgaBBIEEHWemJFcQytHgI2gyx3vlOMMAkMzGQE8GwQSBBCNM0Giit1pT7YzEdTQUr3SDANDMTIZAUAbBBIEEDQts8N3BDRHn/g9/7Izby8MA0MxMxkBRBsEEgQQwToW+linf0y/4S3E2fW0xwwDQzE0GQFIGwQSBBBfvNDdyElkQpl9jPw2wIBbDANDMTUZAUwbBBIEEPypbwQ4W9tJlyIZKJIfZA0MA0MxNhkBUBsEEgQQMJdvGiJVdEe+dqTWICB7jgwDQzE3GQFUGwQSBBBppIZKEuFNRp9uzBhVryU3DANDMTgZAVgaBBIEEF+XkJfEWrtCmxAwBnFOxVkMAlIxGQFcGgQSBBDo3BoVsgn8R5B6Qsv8cWBbDAJSMhkBYBoEEgQQ+SxZ/v3fb0W5/mfTI9KrIwwCUjMZAWQGDdwBFeABaAYN5AEV6AFsBg3cARXsAXAGDfABFfQBdAYN3AEV+AF4Bg3kARX8AXwGDfABFYACgAEGDeQBFYQChAEGDdwBFYgCiAEGDfABFYwCjAEGDeQBFZACkAEGDeQBFZQClAEGDeQBFZgCmAEGDdwBFZwCnAEGDdwBFaACoAEGDeQBFaQCpAEGDeQBFagCqAEGDfABFawCrAEGDeQBFbACsAEGDeQBFbQCtAEGDfABFbgCuAEGDeQBFbwCvAEGDeQBFcACwAEGDeQBFcQCxAEGDdwBFcgCyAEGDfABFcwCzAEGDdwBFdAC0AEGDfABFdQC1AEGDdwBFdgC2AEGDeQBFdwC3AECBADgAQUEAwXgAuQBAgQA6AEFBAMF5ALsAQUEAwXoAvABAgQA9AEFBAMF7AL4AQUEAwXwAvwBBQQDBfQCgAIFBAMF+AKEAgUEAwX8AogCBQQDBYADjAIFBAMFhAOQAgUEAwWIA5QCBQQDBYwDmAIFBAMFkAOcAgUEAwWUA6ACBQQDBZgDpAIFBAMFnAOoAgUEAwWgA6wCBQQDBaQDsAIFBAMFqAO0AgUEAwWsA7gCBQQDBbADvAIFBAMFtAPAAgUEAwW4A8QCBQQDBbwDyAIFBAMFwAPMAgUEAwXEA9ACBQQDBcgD1AIFBAMFzAPYAgUEAwXQA9wCBQQDBdQD4AICAQDkAgUBAdkDd+gCBQEB4QN37AIFAQHlA3fwAgUBAekDd/QCBQEB7QN3+AIFAQHxA3f8AgUBAfUDd4ADBQEB+QN3hAMFAQH9A3eIAwUBAYEEd4wDBQEBhQR3kAMFAQGJBHeUAwUBAY0Ed5gDBQEBkQR3nAMFAQGVBHegAwUBAZkEd6QDBQEBnQR3qAMFAQGhBHesAwUBAaUEd7ADBQEBqQR3tAMFAQGtBHe4AwUBAbEEd7wDBQEBtQR3wAMFAQG5BHfEAwUBAb0Ed8gDBQEBwQR3zAMFAQHFBHfQAwUBAckEd9QDBQEBzQR33gMvQWx0dWEuRGF0YS5JbmZyYXN0cnVjdHVyZS5QYXJhZ3JhcGgsIEFsdHVhLkRhdGHZA3cFDAMF0AThA3cFDAMF1ATlA3cFDAMF2ATpA3cFDAMF3ATtA3cFDAMF4ATxA3cFDAMF5AT1A3cFDAMF6AT5A3cFDAMF7AT9A3cFDAMF8ASBBHcFDAMF9ASFBHcFDAMF+ASJBHcFDAMF/ASNBHcFDAMFgAWRBHcFDAMFhAWVBHcFDAMFiAWZBHcFDAMFjAWdBHcFDAMFkAWhBHcFDAMFlAWlBHcFDAMFmAWpBHcFDAMFnAWtBHcFDAMFoAWxBHcFDAMFpAW1BHcFDAMFqAW5BHcFDAMFrAW9BHcFDAMFsAXBBHcFDAMFtAXFBHcFDAMFuAXJBHcFDAMFvAXNBHcFDAMFwAXQBAYBAcUFsgHUBAYBAc0FtAHYBAYBAdUFtAHcBAYBAdkFsgHgBAYBAd0FsgHkBAYBAeEFtAHoBAYBAeUFsgHsBAYBAekFtAHwBAYBAe0FtAH0BAYBAfEFsgH4BAYBAfUFsgH8BAYBAfkFsgGABQYBAf0FsgGEBQYBAYEGsgGIBQYBAYUGsgGMBQYBAYkGsgGQBQYBAY0GtAGUBQYBAZEGsgGYBQYBAZUGsgGcBQYBAZkGtAGgBQYBAZ0GsgGkBQYBAaEGsgGoBQYBAaUGsgGsBQYBAakGsgGwBQYBAa0GtAG0BQYBAbEGsgG4BQYBAbUGtAG8BQYBAbkGsgHABQYBAb0GsgHKBS9BbHR1YS5EYXRhLkluZnJhc3RydWN0dXJlLk51bWJlclJ1biwgQWx0dWEuRGF0YcUFsgETBA4DAAAAAAAAOkAdwQbRAQ3IBtIFLUFsdHVhLkRhdGEuSW5mcmFzdHJ1Y3R1cmUuVGV4dFJ1biwgQWx0dWEuRGF0Yc0FtAEZBBRLcmF2IGZyYSBteW5kaWdoZXRlcg3MBtUFtAEKBAVBbm5ldA3MBtkFsgETBA4DAAAAAAAAAAAd0QbRAQ3UBt0FsgETBA4DAAAAAAAAR0Ad2QbRAQ3cBuEFtAEnBCJIb2xkbmluZ2VyL21lbmluZ2VyIGhvcyBkZSBhbnNhdHRlDcwG5QWyARMEDgMAAAAAAAAQQB3hBtEBDdQG6QW0ASIEHUV0dGVyc3DDuHJzZWwgZnJhIGlubmJ5Z2dlcm5lDeQG7QW0AR0EGFRpbGdhbmcgdGlsIGZpbmFuc2llcmluZw3MBvEFsgETBA4DAAAAAAAAJEAd6QbRAQ3sBvUFsgETBA4DAAAAAAAA8D8d8QbRAQ3UBvkFsgETBA4DAAAAAAAACEAd9QbRAQ3UBv0FsgETBA4DAAAAAACgn0Ad+QbRAQ38BoEGsgETBA4DAAAAAAAAIkAdgQfRAQ3UBoUGsgETBA4DAAAAAAAAAEAdhQfRAQ3UBokGsgETBA4DAAAAAAAAQkAdiQfRAQ2MB40GtAEOBAlUZWtub2xvZ2kNzAaRBrIBEwQOAwAAAAAAABRAHZEH0QENlAeVBrIBEwQOAwAAAAAAACpAHZkH0QENnAeZBrQBDQQIVmV0IGlra2UNoAedBrIBEwQOAwAAAAAAACJAHaUH0QEN1AahBrIBEwQOAwAAAAAAADZAHakH0QENrAelBrIBEwQOAwAAAAAAAABAHbEH0QEN1AapBrIBEwQOAwAAAAAAnJ9AHfkG0QEN/AatBrQBDQQIw5hrb25vbWkNzAaxBrIBEwQOAwAAAAAAAPA/HbUH0QEN1Aa1BrQBDwQKS29tcGV0YW5zZQ3MBrkGsgETBA4DAAAAAAAAGEAduQfRAQ3UBr0GsgETBA4DAAAAAAAAFEAdvQfRAQ3UBsYGPUFsdHVhLkRhdGEuTnVtYmVyRm9ybWF0dGluZy5Db21wb3NpdGVOdW1iZXJGb3JtYXQsIEFsdHVhLkRhdGHBBtEBCx3AByXEBzXIBz0AyAYSBAAcACQALAA0ADwATABUAF0AzAYSBAAcACQALAA0ADwATABUAF0A0QbRAQsdzAcl0Ac11Ac9ANQGEgQAHAAkACwANAA8AEwAVABdANkG0QELHdgHJdwHNeAHPQDcBhIEABwAJAAsADQAPABMAFQAXQDhBtEBCx3kByXoBzXsBz0A5AYSBAAcACQALAA0ADwATABUAF0A6QbRAQsd8Acl9Ac1+Ac9AOwGEgQAHAAkACwANAA8AEwAVABdAPEG0QELHfwHJYAINYQIPQD1BtEBCx2ICCWMCDWQCD0A+QbRAQsdlAglmAg1nAg9APwGEgQAHAAkACwANAA8AEwAVABdAIEH0QELHaAIJaQINagIPQCFB9EBCx2sCCWwCDW0CD0AiQfRAQsduAglvAg1wAg9AIwHEgQAHAAkACwANAA8AEwAVABdAJEH0QELHcQIJcgINcwIPQCUBxIEABwAJAAsADQAPABMAFQAXQCZB9EBCx3QCCXUCDXYCD0AnAcSBAAcACQALAA0ADwATABUAF0AoAcSBAAcACQALAA0ADwATABUAF0ApQfRAQsd3Agl4Ag15Ag9AKkH0QELHegIJewINfAIPQCsBxIEABwAJAAsADQAPABMAFQAXQCxB9EBCx30CCX4CDX8CD0AtQfRAQsdgAklhAk1iAk9ALkH0QELHYwJJZAJNZQJPQC9B9EBCx2YCSWcCTWgCT0AwAcJAAAMAwWkCREAxAcJAAAMAwWoCREAyAcKBAEsDAEuFAJrcswHCQAADAMFrAkRANAHCQAADAMFsAkRANQHCgQBLAwBLhQCa3LYBwkAAAwDBbQJEQDcBwkAAAwDBbgJEQDgBwoEASwMAS4UAmty5AcJAAAMAwW8CREA6AcJAAAMAwXACREA7AcKBAEsDAEuFAJrcvAHCQAADAMFxAkRAPQHCQAADAMFyAkRAPgHCgQBLAwBLhQCa3L8BwkAAAwDBcwJEQCACAkAAAwDBdAJEQCECAoEASwMAS4UAmtyiAgJAAAMAwXUCREAjAgJAAAMAwXYCREAkAgKBAEsDAEuFAJrcpQICQAADAMF3AkRAJgICQAADAMF4AkRAJwICgQBLAwBLhQCa3KgCAkAAAwDBeQJEQCkCAkAAAwDBegJEQCoCAoEASwMAS4UAmtyrAgJAAAMAwXsCREAsAgJAAAMAwXwCREAtAgKBAEsDAEuFAJrcrgICQAADAMF9AkRALwICQAADAMF+AkRAMAICgQBLAwBLhQCa3LECAkAAAwDBfwJEQDICAkAAAwDBYAKEQDMCAoEASwMAS4UAmty0AgJAAAMAwWEChEA1AgJAAAMAwWIChEA2AgKBAEsDAEuFAJrctwICQAADAMFjAoRAOAICQAADAMFkAoRAOQICgQBLAwBLhQCa3LoCAkAAAwDBZQKEQDsCAkAAAwDBZgKEQDwCAoEASwMAS4UAmty9AgJAAAMAwWcChEA+AgJAAAMAwWgChEA/AgKBAEsDAEuFAJrcoAJCQAADAMFpAoRAIQJCQAADAMFqAoRAIgJCgQBLAwBLhQCa3KMCQkAAAwDBawKEQCQCQkAAAwDBbAKEQCUCQoEASwMAS4UAmtymAkJAAAMAwW0ChEAnAkJAAAMAwW4ChEAoAkKBAEsDAEuFAJrcqQJBgEBvQrQAqgJCgECxQrSAr0K0AKsCQYBAc0K0AKwCQoBAtEK0gLNCtACtAkGAQHVCtACuAkKAQLZCtIC1QrQArwJBgEB3QrQAsAJCgEC4QrSAt0K0ALECQYBAeUK0ALICQoBAukK0gLlCtACzAkGAQHtCtAC0AkKAQLxCtIC7QrQAtQJBgEB9QrQAtgJCgEC+QrSAvUK0ALcCQYBAf0K4ALgCQoBAoUL0gKJC+AC5AkGAQGNC9AC6AkKAQKRC9ICjQvQAuwJBgEBlQvQAvAJCgECmQvSApUL0AL0CQYBAZ0L0AL4CQoBAqEL0gKdC9AC/AkGAQGlC9ACgAoKAQKpC9ICpQvQAoQKBgEBrQvQAogKCgECsQvSAq0L0AKMCgYBAbUL0AKQCgoBArkL0gK1C9AClAoGAQG9C9ACmAoKAQLBC9ICvQvQApwKBgEBxQvQAqAKCgECyQvSAsUL0AKkCgYBAc0L0AKoCgoBAtEL0gLNC9ACrAoGAQHVC9ACsAoKAQLZC9IC1QvQArQKBgEB3QvQArgKCgEC4QvSAt0L0ALCCkBBbHR1YS5EYXRhLk51bWJlckZvcm1hdHRpbmcuTnVtYmVyRm9ybWF0VmFsdWVTZWdtZW50LCBBbHR1YS5EYXRhvQrQAgUEAwXkC8oKP0FsdHVhLkRhdGEuTnVtYmVyRm9ybWF0dGluZy5OdW1iZXJGb3JtYXRUZXh0U2VnbWVudCwgQWx0dWEuRGF0YcUK0gIFBAEtCQHNCtACBQQDBegL0QrSAgUEAS0JAdUK0AIFBAMF7AvZCtICBQQBLQkB3QrQAgUEAwXwC+EK0gIFBAEtCQHlCtACBQQDBfQL6QrSAgUEAS0JAe0K0AIFBAMF+AvxCtICBQQBLQkB9QrQAgUEAwX8C/kK0gIFBAEtCQGCC0JBbHR1YS5EYXRhLk51bWJlckZvcm1hdHRpbmcuTnVtYmVyRm9ybWF0R2VuZXJhbFNlZ21lbnQsIEFsdHVhLkRhdGH9CuACAIUL0gIFBAEtCQGJC+ACAI0L0AIFBAMFgAyRC9ICBQQBLQkBlQvQAgUEAwWEDJkL0gIFBAEtCQGdC9ACBQQDBYgMoQvSAgUEAS0JAaUL0AIFBAMFjAypC9ICBQQBLQkBrQvQAgUEAwWQDLEL0gIFBAEtCQG1C9ACBQQDBZQMuQvSAgUEAS0JAb0L0AIFBAMFmAzBC9ICBQQBLQkBxQvQAgUEAwWcDMkL0gIFBAEtCQHNC9ACBQQDBaAM0QvSAgUEAS0JAdUL0AIFBAMFpAzZC9ICBQQBLQkB3QvQAgUEAwWoDOEL0gIFBAEtCQHkCwYBAa0MjAPoCwYBAa0MjAPsCwYBAa0MjAPwCwYBAa0MjAP0CwYBAa0MjAP4CwYBAa0MjAP8CwYBAa0MjAOADAYBAa0MjAOEDAYBAa0MjAOIDAYBAa0MjAOMDAYBAbUMjAOQDAYBAa0MjAOUDAYBAa0MjAOYDAYBAa0MjAOcDAYBAa0MjAOgDAYBAa0MjAOkDAYBAa0MjAOoDAYBAa0MjAOyDDlBbHR1YS5EYXRhLk51bWJlckZvcm1hdHRpbmcuTnVtYmVyUGxhY2Vob2xkZXIsIEFsdHVhLkRhdGGtDIwDBQIwAAAAtQyMAwUCMAAAAA=="/>
  <p:tag name="GRUNT-RENDERHASH" val="ad16b10b55e34c06c8873662c14704b0-svg"/>
  <p:tag name="GRUNT-X-SHAPEBOUNDS" val="ASIBBAAAAAALbH5AAAAAAACIYUAAAACA4aJ4QAAAAAAAuHVAAA=="/>
  <p:tag name="GRUNT-X-PAGEOBJECT" val="AQUC1S8KOEFsdHVhLk9hay5Db3JlLkRvY3VtZW50TW9kZWwuQ2hhcnRPYmplY3QsIEFsdHVhLk9hay5Db3JlBQI1BBIEEPz8Dhd/3d1GpulRwyw3EM0MEgQQzddvD5ToxUeX/DpmOImKmBUNBCUUNRg9HFUgZSQSUEFsdHVhLk9hay5Db3JlLkRvY3VtZW50TW9kZWwuVGVtcGxhdGluZy5DdXN0b21Qb3NpdGlvbkRlZmluaXRpb24sIEFsdHVhLk9hay5Db3JlDQQkBCIBBOx+lL06fIRAAAAAAACQYUAAAACAAGBqQOP/P/n/r3VAFBMVKB0sNTA4AEU1DlU8XUBkAgVEGAQEAgVIHAIFTCALBVAMBW5iLU5PFVQkEAEBCQERARkBIQEpATEBOQAoFgQSBBAAAAAAAAAAAAAAAAAAAAAACAEsFgQSBBAAAAAAAAAAAAAAAAAAAAAACAEwADpHQWx0dWEuT2FrLkNvcmUuQ2hhcnQuQ2x1c3RlcmVkQmFyV2l0aExpbmVQbG90RGVmaW5pdGlvbiwgQWx0dWEuT2FrLkNvcmU1DjUEEgQQABy1aVbs60Csd/SGRGO5thwCBVglXDVgPAIFZEkA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U9AH4AfwBgAKEAogCjAKQApQCmAKIAUkEEgQQOa6hS2PnK1Gv94eZJj3pqAwSBBCTiDjYcGmfRYPhydUNnyg/FZwCHBIEEOjcGhWyCfxHkHpCy/xxYFskAQEtoAI1pQJKjAFJBBIEEN4S/6C345lRjYGuRrrTzVUMEgQQk4g42HBpn0WD4cnVDZ8oPxWsAhwSBBD5LFn+/d9vRbn+Z9Mj0qsjJAEBLbACNaUCSpABQgEAGAMltAIpADEAQANIAlW4Al28AmQSBBCTiDjYcGmfRYPhydUNnyg/bcACdcQCjQHIApEBAZ0BzAKlAdACtQHUApQBAgEAmAEFBAMF2AKcAQUEAwXcAqABBQQDBeACpAEFBAMF5AKoAQUEAwXYAqwBBQQDBdgCsAEFBAMF6AK0AQUEAwXsArgBBQQDBfACvAEFBAMF9ALAAQUEAwX4AsQBBQQDBfwCyAEFBAMFgAPMAQUEAwWEA9ABBQQDBYgD1AEFBAMFjAPYAQUEAwWQA9wBBQQDBZQD4AEFBAMFmAPkAQUEAwWcA+gBAgEA7AEGBaEDaQgE8AEGBakDaQgE9AErBBIEELZ5fHLQQfJQqnl1ubK6ZJsMEgQQH+uMOKYhy0uJMhdCBN9YNBwBAfgBKwQSBBCt8ZGjGoJ1X7h1pm/wB+aNDBIEEHWemJFcQytHgI2gyx3vlOMcAQH8ASsEEgQQ5UsQX7IX2kOiGcxosmObZgwSBBCNM0Giit1pT7YzEdTQUr3SHAEBgAIrBBIEEI4LSy6D9KVBrAG0CINAOu4MEgQQNC2zw3cENEef+D3/sjNvLxwBAYQCKwQSBBCvd9agXuLsS7WaA3bFrNsbDBIEEME6FvpYp39Mv+EtxNn1tMccAQGIAisEEgQQz8kG34e+60Oe2ngO9TEX0AwSBBBfvNDdyElkQpl9jPw2wIBbHAEBjAIrBBIEELIspLdBXpxDouGcUg/mG34MEgQQ/KlvBDhb20mXIhkokh9kDRwBAZACKwQSBBBW7kP224NhSK2xIUn0GKQpDBIEEDCXbxoiVXRHvnak1iAge44cAQGUAisEEgQQd3apG5svGUWz+yWpPVgHTQwSBBBppIZKEuFNRp9uzBhVryU3HAEBmAIrBBIEEJuXSz36ALJEq0ua8pAu/b0MEgQQkt20D10IMU6pZ2IEWgSoIRwBAZwCBQWsAwgBoAIEBQAIAaoCPkFsdHVhLk9hay5Db3JlLkNoYXJ0LkRlZmF1bHRQbG90U2VyaWVzU2V0dGluZ3MsIEFsdHVhLk9hay5Db3JlpQJKAKwCBQWwAwgBsAIEBQAIAbQCCwMAAAAAAAAAAAgCuAILAwAAAAAAAAAACAG8AgsDAAAAAAAAAAAIAcACFQW0Aw24AxW8Ax3AAyXEAy3IAzXMA8QCBw3QAxXVA2nIAgsDAAAAAAAAAAAIBMwCBgXZA2kIBNACBgXZA2kIBNQCBQQDBdwD2AICAQDcAg4BBuAD5APoA+wD8AP0A+ACBAEB+APkAgIBAOgCAgEA7AICAQDwAg4BBvwDgASEBIgEjASQBPQCAgEA+AIOAQaUBJgEnASgBKQEqAT8AhABB6wEsAS0BLgEvATABMQEgAMCAQCEAwQBAcgEiAMKAQTMBNAE1ATYBIwDAgEAkAMCAQCUAwIBAJgDAgEAnAMCAQCmAzNBbHR1YS5PYWsuQ29yZS5UaGVtaW5nLkNvbG9yUG9pbnRlciwgQWx0dWEuT2FrLkNvcmWhA2lQUFD/qQNpUFBQ/6wDBQQDBdwEsAMFBAMF4AS0AwcEAwQBAAgEuAMFBAEuCAS8AwQAAQgEwAMEAAAIBMQDBAQACATIAwQEAAgEzAMEAAAIBNADBQQDBeQE1QNpPj7l/9kDaVBQUP/cAwIBAOADDgXpBJsBCwAAAAAAAAAA5AMOBfEEnQELAAAAAAAAAADoAw4F+QSfAQsAAAAAAADgP+wDDgWBBaEBCwAAAAAAAOA/8AMOBYkFowELAAAAAAAA4D/0Aw4FkQWlAQsAAAAAAAD4P/gDCAWZBaMBDZwF/AMKBaEFqQENqQWrAYAECgWxBZsBDbUFrgGEBAoFvQWfAQ3BBa4BiAQKBcUFoQENyQWuAYwECQXNBbQBDdUFaZAECQXZBbcBDeEFaZQEBwXlBboBCQGYBAcF7QW8AQkAnAQHBfUFugEJAaAEBwX5Bb8BCQGkBAcFgQbBAQkBqAQHBYkGwwEJAawECgWRBsUBDZkGxwGwBAoFoQbJAQ2pBssBtAQKBbEGzQENuQbPAbgECgXBBs0BDbkGzwG8BAoFxQa8AQ3JBtMBwAQKBdEGwQENyQbTAcQECgXVBsMBDdkG1wHIBAoF4QbZAQ3pBtsBzAQKBfEGvAEN9QbeAdAECgX9BskBDYEH3gHUBAoFhQfBAQ2JB94B2AQKBY0HxQENkQfeAdwEBgEBlQfmAeAEBgEBnQfmAeQEBAECAQTuBFNBbHR1YS5PYWsuQ29yZS5Nb2RpZmljYXRpb24uU3R5bGluZy5BbGxWYWx1ZUF4aXNDdXN0b21pemF0aW9uVGFyZ2V0LCBBbHR1YS5PYWsuQ29yZekEmwEA9gRZQWx0dWEuT2FrLkNvcmUuTW9kaWZpY2F0aW9uLlN0eWxpbmcuVmFsdWVBeGlzR3JpZGxpbmVzQ3VzdG9taXphdGlvblRhcmdldCwgQWx0dWEuT2FrLkNvcmXxBJ0BAP4EU0FsdHVhLk9hay5Db3JlLk1vZGlmaWNhdGlvbi5TdHlsaW5nLkNhdGVnb3J5QXhpc0N1c3RvbWl6YXRpb25UYXJnZXQsIEFsdHVhLk9hay5Db3Jl+QSfAQCGBVBBbHR1YS5PYWsuQ29yZS5Nb2RpZmljYXRpb24uU3R5bGluZy5Pcmlnb0xpbmVDdXN0b21pemF0aW9uVGFyZ2V0LCBBbHR1YS5PYWsuQ29yZYEFoQEAjgVdQWx0dWEuT2FrLkNvcmUuTW9kaWZpY2F0aW9uLlN0eWxpbmcuQWxsQ29ubmVjdG9yc0F1eGlsaWFyeUN1c3RvbWl6YXRpb25UYXJnZXQsIEFsdHVhLk9hay5Db3JliQWjAQCWBVlBbHR1YS5PYWsuQ29yZS5Nb2RpZmljYXRpb24uU3R5bGluZy5TZXJpZXNXaXRoUGxvdEtpbmRDdXN0b21pemF0aW9uVGFyZ2V0LCBBbHR1YS5PYWsuQ29yZZEFpQEDBaAHmQWjAQCcBQUMAwWkB6YFVkFsdHVhLk9hay5Db3JlLk1vZGlmaWNhdGlvbi5TdHlsaW5nLkFsbFNlcmllc01hcmtlckN1c3RvbWl6YXRpb25UYXJnZXQsIEFsdHVhLk9hay5Db3JloQWpAQCuBTpBbHR1YS5PYWsuQ29yZS5UaGVtaW5nLkJpbmRpbmdDb2xvclBvaW50ZXIsIEFsdHVhLk9hay5Db3JlqQWrAQUFqQfrAbEFmwEAugU3QWx0dWEuT2FrLkNvcmUuVGhlbWluZy5QYWdlQ29sb3JQb2ludGVyLCBBbHR1YS5PYWsuQ29yZbUFrgEEAAAIAL0FnwEAwQWuAQQAAAgAxQWhAQDJBa4BBAAACADSBVNBbHR1YS5PYWsuQ29yZS5Nb2RpZmljYXRpb24uU3R5bGluZy5BbGxHcmlkbGluZXNDdXN0b21pemF0aW9uVGFyZ2V0LCBBbHR1YS5PYWsuQ29yZc0FtAEA1QVpgICA/94FTUFsdHVhLk9hay5Db3JlLk1vZGlmaWNhdGlvbi5TdHlsaW5nLlNlcmllc0N1c3RvbWl6YXRpb25UYXJnZXQsIEFsdHVhLk9hay5Db3Jl2QW3ARQEEgQQOa6hS2PnK1Gv94eZJj3pqOEFaf+hL//qBVhBbHR1YS5PYWsuQ29yZS5Nb2RpZmljYXRpb24uU3R5bGluZy5TZXJpZXNMYWJlbE9mVHlwZUN1c3RvbWl6YXRpb25UYXJnZXQsIEFsdHVhLk9hay5Db3Jl5QW6AQIAAvIFWEFsdHVhLk9hay5Db3JlLk1vZGlmaWNhdGlvbi5TdHlsaW5nLkFsbFZhbHVlQXhpc0xhYmVsQ3VzdG9taXphdGlvblRhcmdldCwgQWx0dWEuT2FrLkNvcmXtBbwBAPUFugECAAD+BVVBbHR1YS5PYWsuQ29yZS5Nb2RpZmljYXRpb24uU3R5bGluZy5BbGxUb3RhbExhYmVsc0N1c3RvbWl6YXRpb25UYXJnZXQsIEFsdHVhLk9hay5Db3Jl+QW/AQCGBldBbHR1YS5PYWsuQ29yZS5Nb2RpZmljYXRpb24uU3R5bGluZy5BbGxDYXRlZ29yeUxhYmVsQ3VzdG9taXphdGlvblRhcmdldCwgQWx0dWEuT2FrLkNvcmWBBsEBAI4GWEFsdHVhLk9hay5Db3JlLk1vZGlmaWNhdGlvbi5TdHlsaW5nLkFsbEF1eGlsaWFyeUxhYmVsQ3VzdG9taXphdGlvblRhcmdldCwgQWx0dWEuT2FrLkNvcmWJBsMBAJYGWEFsdHVhLk9hay5Db3JlLk1vZGlmaWNhdGlvbi5TdHlsaW5nLkNhdGVnb3J5QXhpc1RpdGxlQ3VzdG9taXphdGlvblRhcmdldCwgQWx0dWEuT2FrLkNvcmWRBsUBAJ4GQkFsdHVhLk9hay5Db3JlLlBsb3R0aW5nLkF4aXNUaXRsZUxhYmVsUGxhY2VtZW50RmFyLCBBbHR1YS5PYWsuQ29yZZkGxwECAACmBl1BbHR1YS5PYWsuQ29yZS5Nb2RpZmljYXRpb24uU3R5bGluZy5BbGxWYWx1ZUF4aXNUaXRsZUxhYmVsQ3VzdG9taXphdGlvblRhcmdldCwgQWx0dWEuT2FrLkNvcmWhBskBAK4GRkFsdHVhLk9hay5Db3JlLlBsb3R0aW5nLkF4aXNUaXRsZUxhYmVsUGxhY2VtZW50T3V0c2lkZSwgQWx0dWEuT2FrLkNvcmWpBssBAgABtgZfQWx0dWEuT2FrLkNvcmUuTW9kaWZpY2F0aW9uLlN0eWxpbmcuU2VyaWVzTGFiZWxzV2l0aFBsb3RLaW5kQ3VzdG9taXphdGlvblRhcmdldCwgQWx0dWEuT2FrLkNvcmWxBs0BBQWwBwgAvgY9QWx0dWEuT2FrLkNvcmUuUGxvdHRpbmcuTGFiZWxQbGFjZW1lbnRPdXRzaWRlLCBBbHR1YS5PYWsuQ29yZbkGzwEAwQbNAQUFtAcIAMUGvAEAzgZBQWx0dWEuT2FrLkNvcmUuUGxvdHRpbmcuQXhpc0xhYmVsUGxhY2VtZW50T3V0c2lkZSwgQWx0dWEuT2FrLkNvcmXJBtMBAgEA0QbBAQDVBsMBAN4GRkFsdHVhLk9hay5Db3JlLlBsb3R0aW5nLkF1eGlsaWFyeUxhYmVsUGxhY2VtZW50RGVmYXVsdCwgQWx0dWEuT2FrLkNvcmXZBtcBAOYGUEFsdHVhLk9hay5Db3JlLk1vZGlmaWNhdGlvbi5TdHlsaW5nLkFsbExhYmVsc0N1c3RvbWl6YXRpb25UYXJnZXQsIEFsdHVhLk9hay5Db3Jl4QbZAQDuBkJBbHR1YS5PYWsuQ29yZS5TeW50YXhTdHJ1Y3R1cmUuQWN0dWFsRm9udFNpemVWYWx1ZSwgQWx0dWEuT2FrLkNvcmXpBtsBCQMAAAAAAAAiQPEGvAEA+gZDQWx0dWEuT2FrLkNvcmUuU3ludGF4U3RydWN0dXJlLkFjdHVhbEZvbnRDb2xvclZhbHVlLCBBbHR1YS5PYWsuQ29yZfUG3gEFBbkHrgH9BskBAIEH3gEFBb0HrgGFB8EBAIkH3gEFBcEHrgGNB8UBAJEH3gEFBcUHrgGaBy9BbHR1YS5EYXRhLkluZnJhc3RydWN0dXJlLlBhcmFncmFwaCwgQWx0dWEuRGF0YZUH5gEFDAMFyAedB+YBBQwDBcwHoAcBBaQHCgECAACAQAAAQECuB0hBbHR1YS5PYWsuQ29yZS5TeW50YXhTdHJ1Y3R1cmUuUGxvdFNlcmllc0JpbmRpbmdTdHJhdGVneSwgQWx0dWEuT2FrLkNvcmWpB+sBALAHAgkKtAcBBbkHrgEEAAAIAL0HrgEEAAAIAMEHrgEEAAAIAMUHrgEEAAAIAMgHBgEB0Qf1AcwHBgEB2Qf1AdYHL0FsdHVhLkRhdGEuSW5mcmFzdHJ1Y3R1cmUuTnVtYmVyUnVuLCBBbHR1YS5EYXRh0Qf1ARMEDgMAAAAAAJyfQB3dB/gBDeQH2Qf1ARMEDgMAAAAAAKCfQB3pB/gBDewH4gc9QWx0dWEuRGF0YS5OdW1iZXJGb3JtYXR0aW5nLkNvbXBvc2l0ZU51bWJlckZvcm1hdCwgQWx0dWEuRGF0Yd0H+AELHfAHJfQHNfgHPQDkBxIEABwAJAAsADQAPABMAFQAXQDpB/gBCx38ByWACDWECD0A7AcSBAAcACQALAA0ADwATABUAF0A8AcJAAAMAwWICBEA9AcJAAAMAwWMCBEA+AcKBAEsDAEuFAJrcvwHCQAADAMFkAgRAIAICQAADAMFlAgRAIQICgQBLAwBLhQCa3KICAYBAZkIhwKMCAoBAqEIiQKZCIcCkAgGAQGpCIcClAgKAQKtCIkCqQiHAp4IQEFsdHVhLkRhdGEuTnVtYmVyRm9ybWF0dGluZy5OdW1iZXJGb3JtYXRWYWx1ZVNlZ21lbnQsIEFsdHVhLkRhdGGZCIcCBQQDBbAIpgg/QWx0dWEuRGF0YS5OdW1iZXJGb3JtYXR0aW5nLk51bWJlckZvcm1hdFRleHRTZWdtZW50LCBBbHR1YS5EYXRhoQiJAgUEAS0JAakIhwIFBAMFtAitCIkCBQQBLQkBsAgGAQG5CI8CtAgGAQG5CI8Cvgg5QWx0dWEuRGF0YS5OdW1iZXJGb3JtYXR0aW5nLk51bWJlclBsYWNlaG9sZGVyLCBBbHR1YS5EYXRhuQiPAgUCMAAAAA=="/>
  <p:tag name="GRUNT-SYNC" val="cc030890a57441a8a64c419ddd6c54eb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3448c1ad-db91-40b0-8b0e-5ac758f96d56"/>
  <p:tag name="GRUNT-X-RESOURCES" val="AQIFBAQEAgEA"/>
  <p:tag name="GRUNT-VERSION" val="20.24.1.0"/>
  <p:tag name="GRUNT-VERSION-2" val="2024.1-r2-4069"/>
  <p:tag name="GRUNT-RENDERHASH" val="a7c48a8ed7026b541742b326faa049de-svg"/>
  <p:tag name="GRUNT-X-SHAPEBOUNDS" val="ASIBBAAAAODcO4lAAAAAAACQYEAAAAAg34VNQAAAAABxEEVAAA=="/>
  <p:tag name="GRUNT-X-PAGEOBJECT" val="AQUCswIKPkFsdHVhLk9hay5Db3JlLkRvY3VtZW50TW9kZWwuQ2hhcnRMZWdlbmRPYmplY3QsIEFsdHVhLk9hay5Db3JlBQI5BBIEEK3BSDSR27BAiw5ax1j5bVYUEgQQABy1aVbs60Csd/SGRGO5ti0MNRBEAgUUSABVGQdlIG0kDAQEAgUoEAIFLBQCAQAeUEFsdHVhLk9hay5Db3JlLkRvY3VtZW50TW9kZWwuVGVtcGxhdGluZy5DdXN0b21Qb3NpdGlvbkRlZmluaXRpb24sIEFsdHVhLk9hay5Db3JlGQckBCIBBHaEu+rcO4lAAAAAAACQYEBgp48t34VNQGAN0/VwEEVAIAsFMAwFbmItTk8VNCQEAQEJASgCAQAsADAKBAEsDAEgFAJrcjQJBAVuYi1OTwgB"/>
  <p:tag name="GRUNT-SYNC" val="3a51904cc1984ea9b750eda1945a3cef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76b96a03-8804-4298-b8fe-78e3a22022f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3448c1ad-db91-40b0-8b0e-5ac758f96d56"/>
  <p:tag name="GRUNT-X-RESOURCES" val="AQIFBAQEAgEA"/>
  <p:tag name="GRUNT-VERSION" val="20.24.1.0"/>
  <p:tag name="GRUNT-VERSION-2" val="2024.1-r2-4069"/>
  <p:tag name="GRUNT-RENDERHASH" val="f03b22e50d67cd616872842f860f2c13-svg"/>
  <p:tag name="GRUNT-X-SHAPEBOUNDS" val="ASIBBAAAAEAA1HZAAAAAAACQYEAAAAAg34VNQAAAAABxEEVAAA=="/>
  <p:tag name="GRUNT-X-PAGEOBJECT" val="AQUCswIKPkFsdHVhLk9hay5Db3JlLkRvY3VtZW50TW9kZWwuQ2hhcnRMZWdlbmRPYmplY3QsIEFsdHVhLk9hay5Db3JlBQI5BBIEECvmgE72W4VMopA7PABdfd8UEgQQABy1aVbs60Csd/SGRGO5ti0MNRBEAgUUSABVGQdlIG0kDAQEAgUoEAIFLBQCAQAeUEFsdHVhLk9hay5Db3JlLkRvY3VtZW50TW9kZWwuVGVtcGxhdGluZy5DdXN0b21Qb3NpdGlvbkRlZmluaXRpb24sIEFsdHVhLk9hay5Db3JlGQckBCIBBM7/DzMA1HZAAAAAAACQYEBgp48t34VNQGAN0/VwEEVAIAsFMAwFbmItTk8VNCQEAQEJASgCAQAsADAKBAEsDAEgFAJrcjQJBAVuYi1OTwgB"/>
  <p:tag name="GRUNT-SYNC" val="cb5d6ad21c0d4033859077ed568e77d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b74ad72f-10cd-46f3-8657-73186206f75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0g4KN0FsdHVhLkRhdGEuRGF0YVNlcnZpY2VzLkVtYmVkZGVkRGF0YVNlcnZpY2UsIEFsdHVhLkRhdGEFAhkEEgQQANKcNRLyBEG/6JDWK/AsVg0MJREFDAYFGAgSEAcWQUFsdHVhLkRhdGEuRGF0YVNlcnZpY2VzLkVtYmVkZGVkRGF0YVNlcnZpY2VFZGl0b3JEYXRhLCBBbHR1YS5EYXRhEQUEBRwNIBgGBSQNKBUsHDwdBBIEENNz8cQb9wFOoDLwDWItJDkLAAAAAAAAHEAdBBIEEB/rjDimIctLiTIXQgTfWDQLAAAAAAAgYkAgWh0EEgQQBbe507cO9EmRZBhNRm5FrAsAAAAAAAAyQB0EEgQQhB+R4huFNUGwuFZrPUlJDwsAAAAAAAAyQB0EEgQQ+SxZ/v3fb0W5/mfTI9KrIwsAAAAAAAAyQCQDMDQ4KAI8QCyOAiwEKAQSBBDajSsQe0+aTJlGK/NOL/gcDBIEEF+XkJfEWrtCmxAwBnFOxVkNRCwEKAQSBBB1npiRXEMrR4CNoMsd75TjDBIEEF+XkJfEWrtCmxAwBnFOxVkNSCwEKAQSBBAf64w4piHLS4kyF0IE31g0DBIEEOjcGhWyCfxHkHpCy/xxYFsNTCwEKAQSBBAf64w4piHLS4kyF0IE31g0DBIEEF+XkJfEWrtCmxAwBnFOxVkNUCwEKAQSBBDajSsQe0+aTJlGK/NOL/gcDBIEEOjcGhWyCfxHkHpCy/xxYFsNVCwEKAQSBBB1npiRXEMrR4CNoMsd75TjDBIEEOjcGhWyCfxHkHpCy/xxYFsNWDAaBBIEENqNKxB7T5pMmUYr804v+BwMAkMxGQE0GgQSBBAf64w4piHLS4kyF0IE31g0DAJDMhkBOBoEEgQQdZ6YkVxDK0eAjaDLHe+U4wwCQzMZATwaBBIEEF+XkJfEWrtCmxAwBnFOxVkMAlIxGQFAGgQSBBDo3BoVsgn8R5B6Qsv8cWBbDAJSMhkBRAQNXBVgSAQNXBVkTAQNXBVoUAQNXBVsVAQNXBVwWAQNXBV0XAIEAGAEBAIFeGQEBAIFfGgFBAMFgAFsBQQDBYQBcAUEAwWIAXQFBAMFjAF4AgEAfAUBAZEBJYABBQEBmQElhAEFAQGdASWIAQIBAIwBBQEBoQEllgEvQWx0dWEuRGF0YS5JbmZyYXN0cnVjdHVyZS5QYXJhZ3JhcGgsIEFsdHVhLkRhdGGRASUFDAMFpAGZASUFDAMFqAGdASUFDAMFrAGhASUFDAMFsAGkAQUBAbUBLqgBBQEBvQEurAEFAQHBAS6wAQUBAcUBLroBL0FsdHVhLkRhdGEuSW5mcmFzdHJ1Y3R1cmUuTnVtYmVyUnVuLCBBbHR1YS5EYXRhtQEuEgQNAwAAAAAAoJ9AHckBMw3QAb0BLhIEDQMAAAAAAAA+QB3VATMN2AHBAS4SBA0DAAAAAACcn0Ad3QEzDeABxQEuEgQNAwAAAAAAAEFAHeUBMw3oAc4BPUFsdHVhLkRhdGEuTnVtYmVyRm9ybWF0dGluZy5Db21wb3NpdGVOdW1iZXJGb3JtYXQsIEFsdHVhLkRhdGHJATMLHewBJfABNfQBPQDQARIEABwAJAAsADQAPABMAFQAXQDVATMLHfgBJfwBNYACPQDYARIEABwAJAAsADQAPABMAFQAXQDdATMLHYQCJYgCNYwCPQDgARIEABwAJAAsADQAPABMAFQAXQDlATMLHZACJZQCNZgCPQDoARIEABwAJAAsADQAPABMAFQAXQDsAQkAAAwDBZwCEQDwAQkAAAwDBaACEQD0AQoEASwMAS4UAmty+AEJAAAMAwWkAhEA/AEJAAAMAwWoAhEAgAIKBAEsDAEuFAJrcoQCCQAADAMFrAIRAIgCCQAADAMFsAIRAIwCCgQBLAwBLhQCa3KQAgkAAAwDBbQCEQCUAgkAAAwDBbgCEQCYAgoEASwMAS4UAmtynAIFAQG9AlCgAggBAsUCUr0CUKQCBQEBzQJQqAIIAQLRAlLNAlCsAgUBAdUCULACCAEC2QJS1QJQtAIFAQHdAlC4AggBAuECUt0CUMICQEFsdHVhLkRhdGEuTnVtYmVyRm9ybWF0dGluZy5OdW1iZXJGb3JtYXRWYWx1ZVNlZ21lbnQsIEFsdHVhLkRhdGG9AlAFBAMF5ALKAj9BbHR1YS5EYXRhLk51bWJlckZvcm1hdHRpbmcuTnVtYmVyRm9ybWF0VGV4dFNlZ21lbnQsIEFsdHVhLkRhdGHFAlIFBAEtCQHNAlAFBAMF6ALRAlIFBAEtCQHVAlAFBAMF7ALZAlIFBAEtCQHdAlAFBAMF8ALhAlIFBAEtCQHkAgUBAfUCXugCBQEB/QJe7AIFAQH1Al7wAgUBAf0CXvoCOUFsdHVhLkRhdGEuTnVtYmVyRm9ybWF0dGluZy5OdW1iZXJQbGFjZWhvbGRlciwgQWx0dWEuRGF0YfUCXgUCMAAAAP0CXgUCMAAAAA=="/>
  <p:tag name="GRUNT-RENDERHASH" val="24dc0495b2ec4d3618c85176b9823dfb-svg"/>
  <p:tag name="GRUNT-X-SHAPEBOUNDS" val="ASIBBAAAAOBLEkVAAAAAIOowdEAAAAAANMVxQAAAAAA4xVhAAA=="/>
  <p:tag name="GRUNT-X-PAGEOBJECT" val="AQUCoTEKOEFsdHVhLk9hay5Db3JlLkRvY3VtZW50TW9kZWwuQ2hhcnRPYmplY3QsIEFsdHVhLk9hay5Db3JlBQI1BBIEEEtWGZN8FDZAudYvdy9KBeEMEgQQANKcNRLyBEG/6JDWK/AsVhUNBCUUNRg9HFUgZSQSUEFsdHVhLk9hay5Db3JlLkRvY3VtZW50TW9kZWwuVGVtcGxhdGluZy5DdXN0b21Qb3NpdGlvbkRlZmluaXRpb24sIEFsdHVhLk9hay5Db3JlDQQkBCIBBKAa6+NLMkVAaVI/iVA3dUBHP8/4M71xQJgbacoEElBAFBMVKB0sNTA4AEU1DlU8XUBkAgVEGAQEAgVIHAIFTCALBVAMBW5iLU5PFVQkEAEBCQERARkBIQEpATEBOQAoFgQSBBAAAAAAAAAAAAAAAAAAAAAACAEsFgQSBBAAAAAAAAAAAAAAAAAAAAAACAEwADpHQWx0dWEuT2FrLkNvcmUuQ2hhcnQuQ2x1c3RlcmVkQmFyV2l0aExpbmVQbG90RGVmaW5pdGlvbiwgQWx0dWEuT2FrLkNvcmU1DjUEEgQQlPKvtlt2oEC7Eo/AiFp+vR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W9AH4AfwBgAKEAogCjAKQApQCmAKcAogBSQQSBBA5rqFLY+crUa/3h5kmPemoDBIEEBgnegPTCFRMhaV50t2JfFMVoAIcEgQQ6NwaFbIJ/EeQekLL/HFgWyQBAS2kAjWpAkuMAUkEEgQQ3hL/oLfjmVGNga5GutPNVQwSBBAYJ3oD0whUTIWledLdiXxTFbACHBIEEPksWf79329Fuf5n0yPSqyMkAQEttAI1qQJLkAFCAQAYAyW4AikAMQBAAEgCVbwCXcACZBIEEBgnegPTCFRMhaV50t2JfFNtxAJ1yAKNAcwCkQEBnQHQAqUB1AK1AdgClAECAQCYAQUEAwXcApwBBQQDBeACoAEFBAMF5AKkAQUEAwXoAqgBBQQDBdwCrAEFBAMF3AKwAQUEAwXsArQBBQQDBfACuAEFBAMF9AK8AQUEAwX4AsABBQQDBfwCxAEFBAMFgAPIAQUEAwWEA8wBBQQDBYgD0AEFBAMFjAPUAQUEAwWQA9gBBQQDBZQD3AEFBAMFmAPgAQUEAwWcA+QBBQQDBaAD6AECAQDsAQYFpQNqCATwAQYFrQNqCAT0ASsEEgQQtnl8ctBB8lCqeXW5srpkmwwSBBAf64w4piHLS4kyF0IE31g0HAEB+AErBBIEEK3xkaMagnVfuHWmb/AH5o0MEgQQdZ6YkVxDK0eAjaDLHe+U4xwBAfwBKwQSBBAUgTfa/GNkVrpdQgis1b/wDBIEEDN2LlbKrM9DuJ/41/dD8iIcAQGAAisEEgQQd2MwujbKQFSz3yjnTKcylwwSBBBZn2HmWJE/SIQqnrz3HmVGHAEBhAIrBBIEED1DZfZn2ddWnpP2n9ATgkIMEgQQ5PInsc7xekOZNXqmuIfDUhwBAYgCKwQSBBCD+4py9nD8QKBTKFF6ohauDBIEEJvzN8z2MBhPpn+BGWPNv6ocAQGMAisEEgQQUp3Hd2NQf0aKrpw65Q0tWAwSBBC/BNzlG01aS63JT5V8CUTVHAEBkAIrBBIEEJcFcGzx2fpNmxxZeq8thPUMEgQQHQWFMRz7TkSitZTvRM8LzhwBAZQCKwQSBBBrSd+3cy9oT6p3sNZBUA3rDBIEEPvRt2941KNPtNbA4wnNe0kcAQGYAisEEgQQ4ikfsnaK4EuJU/fmpsixuQwSBBDoAmmIksVpR4Wcmdp5Uj9+HAEBnAIrBBIEEEAq3kmQwJxKnB8PlG7IsdMMEgQQ2l47+0cTPky0l42NcMy3CBwBAaACBQWwAwgBpAIEBQAIAa4CPkFsdHVhLk9hay5Db3JlLkNoYXJ0LkRlZmF1bHRQbG90U2VyaWVzU2V0dGluZ3MsIEFsdHVhLk9hay5Db3JlqQJLALACBQW0AwgBtAIEBQAIAbgCCwMAAAAAAAAAAAgCvAILAwAAAAAAAAAACAHAAgsDAAAAAAAAAAAIAcQCFQW4Aw28AxXAAx3EAyXIAy3MAzXQA8gCBw3UAxXZA2rMAgsDAAAAAAAAAAAIBNACBgXdA2oIBNQCBgXdA2oIBNgCBQQDBeAD3AICAQDgAg4BBuQD6APsA/AD9AP4A+QCBAEB/APoAgIBAOwCAgEA8AICAQD0AhIBCIAEhASIBIwEkASUBJgEnAT4AgIBAPwCDgEGoASkBKgErASwBLQEgAMQAQe4BLwEwATEBMgEzATQBIQDAgEAiAMEAQHUBIwDCgEE2ATcBOAE5ASQAwIBAJQDAgEAmAMCAQCcAwIBAKADAgEAqgMzQWx0dWEuT2FrLkNvcmUuVGhlbWluZy5Db2xvclBvaW50ZXIsIEFsdHVhLk9hay5Db3JlpQNqUFBQ/60DalBQUP+wAwUEAwXoBLQDBQQDBewEuAMHBAMEAQAIBLwDBQQBLggEwAMEAAEIBMQDBAAACATIAwQEAAgEzAMEBAAIBNADBAAACATUAwUEAwXwBNkDaj4+5f/dA2pQUFD/4AMCAQDkAw4F9QSeAQsAAAAAAAAAAOgDDgX9BKABCwAAAAAAAAAA7AMOBYUFogELAAAAAAAA4D/wAw4FjQWkAQsAAAAAAADgP/QDDgWVBaYBCwAAAAAAAOA/+AMOBZ0FqAELAAAAAAAA+D/8AwgFpQWmAQ2oBYAECgWtBawBDbUFrgGEBAoFvQWeAQ3BBbEBiAQKBckFogENzQWxAYwECgXRBaQBDdUFsQGQBAkF2QW3AQ3hBWqUBAoF5QW6AQ3tBbEBmAQKBfEFvQEN+QWxAZwECQX9Bb0BDYEGaqAEBwWFBsIBCQGkBAcFjQbEAQkAqAQHBZUGwgEJAawEBwWZBscBCQGwBAcFoQbJAQkBtAQHBakGywEJAbgECgWxBs0BDbkGzwG8BAoFwQbRAQ3JBtMBwAQKBdEG1QEN2QbXAcQECgXhBtUBDdkG1wHIBAoF5QbEAQ3pBtsBzAQKBfEGyQEN6QbbAdAECgX1BssBDfkG3wHUBAoFgQfhAQ2JB+MB2AQKBZEHxAENlQfmAdwECgWdB9EBDaEH5gHgBAoFpQfJAQ2pB+YB5AQKBa0HzQENsQfmAegEBgEBtQfuAewEBgEBvQfuAfAEBAECAQT6BFNBbHR1YS5PYWsuQ29yZS5Nb2RpZmljYXRpb24uU3R5bGluZy5BbGxWYWx1ZUF4aXNDdXN0b21pemF0aW9uVGFyZ2V0LCBBbHR1YS5PYWsuQ29yZfUEngEAggVZQWx0dWEuT2FrLkNvcmUuTW9kaWZpY2F0aW9uLlN0eWxpbmcuVmFsdWVBeGlzR3JpZGxpbmVzQ3VzdG9taXphdGlvblRhcmdldCwgQWx0dWEuT2FrLkNvcmX9BKABAIoFU0FsdHVhLk9hay5Db3JlLk1vZGlmaWNhdGlvbi5TdHlsaW5nLkNhdGVnb3J5QXhpc0N1c3RvbWl6YXRpb25UYXJnZXQsIEFsdHVhLk9hay5Db3JlhQWiAQCSBVBBbHR1YS5PYWsuQ29yZS5Nb2RpZmljYXRpb24uU3R5bGluZy5Pcmlnb0xpbmVDdXN0b21pemF0aW9uVGFyZ2V0LCBBbHR1YS5PYWsuQ29yZY0FpAEAmgVdQWx0dWEuT2FrLkNvcmUuTW9kaWZpY2F0aW9uLlN0eWxpbmcuQWxsQ29ubmVjdG9yc0F1eGlsaWFyeUN1c3RvbWl6YXRpb25UYXJnZXQsIEFsdHVhLk9hay5Db3JllQWmAQCiBVlBbHR1YS5PYWsuQ29yZS5Nb2RpZmljYXRpb24uU3R5bGluZy5TZXJpZXNXaXRoUGxvdEtpbmRDdXN0b21pemF0aW9uVGFyZ2V0LCBBbHR1YS5PYWsuQ29yZZ0FqAEDBcAHpQWmAQCoBQUMAwXEB7IFVkFsdHVhLk9hay5Db3JlLk1vZGlmaWNhdGlvbi5TdHlsaW5nLkFsbFNlcmllc01hcmtlckN1c3RvbWl6YXRpb25UYXJnZXQsIEFsdHVhLk9hay5Db3JlrQWsAQC6BTpBbHR1YS5PYWsuQ29yZS5UaGVtaW5nLkJpbmRpbmdDb2xvclBvaW50ZXIsIEFsdHVhLk9hay5Db3JltQWuAQUFyQfzAb0FngEAxgU3QWx0dWEuT2FrLkNvcmUuVGhlbWluZy5QYWdlQ29sb3JQb2ludGVyLCBBbHR1YS5PYWsuQ29yZcEFsQEEAAAIAMkFogEAzQWxAQQAAAgA0QWkAQDVBbEBBAAACADeBVNBbHR1YS5PYWsuQ29yZS5Nb2RpZmljYXRpb24uU3R5bGluZy5BbGxHcmlkbGluZXNDdXN0b21pemF0aW9uVGFyZ2V0LCBBbHR1YS5PYWsuQ29yZdkFtwEA4QVqgICA/+oFTUFsdHVhLk9hay5Db3JlLk1vZGlmaWNhdGlvbi5TdHlsaW5nLlNlcmllc0N1c3RvbWl6YXRpb25UYXJnZXQsIEFsdHVhLk9hay5Db3Jl5QW6ARQEEgQQ3hL/oLfjmVGNga5GutPNVe0FsQEEAAkIAPYFUEFsdHVhLk9hay5Db3JlLk1vZGlmaWNhdGlvbi5TdHlsaW5nLkRhdGFQb2ludEN1c3RvbWl6YXRpb25UYXJnZXQsIEFsdHVhLk9hay5Db3Jl8QW9ASgEEgQQOa6hS2PnK1Gv94eZJj3pqAwSBBCt8ZGjGoJ1X7h1pm/wB+aN+QWxAQQABQgA/QW9ASgEEgQQOa6hS2PnK1Gv94eZJj3pqAwSBBC2eXxy0EHyUKp5dbmyumSbgQZq8LAA/4oGWEFsdHVhLk9hay5Db3JlLk1vZGlmaWNhdGlvbi5TdHlsaW5nLlNlcmllc0xhYmVsT2ZUeXBlQ3VzdG9taXphdGlvblRhcmdldCwgQWx0dWEuT2FrLkNvcmWFBsIBAgACkgZYQWx0dWEuT2FrLkNvcmUuTW9kaWZpY2F0aW9uLlN0eWxpbmcuQWxsVmFsdWVBeGlzTGFiZWxDdXN0b21pemF0aW9uVGFyZ2V0LCBBbHR1YS5PYWsuQ29yZY0GxAEAlQbCAQIAAJ4GVUFsdHVhLk9hay5Db3JlLk1vZGlmaWNhdGlvbi5TdHlsaW5nLkFsbFRvdGFsTGFiZWxzQ3VzdG9taXphdGlvblRhcmdldCwgQWx0dWEuT2FrLkNvcmWZBscBAKYGV0FsdHVhLk9hay5Db3JlLk1vZGlmaWNhdGlvbi5TdHlsaW5nLkFsbENhdGVnb3J5TGFiZWxDdXN0b21pemF0aW9uVGFyZ2V0LCBBbHR1YS5PYWsuQ29yZaEGyQEArgZYQWx0dWEuT2FrLkNvcmUuTW9kaWZpY2F0aW9uLlN0eWxpbmcuQWxsQXV4aWxpYXJ5TGFiZWxDdXN0b21pemF0aW9uVGFyZ2V0LCBBbHR1YS5PYWsuQ29yZakGywEAtgZYQWx0dWEuT2FrLkNvcmUuTW9kaWZpY2F0aW9uLlN0eWxpbmcuQ2F0ZWdvcnlBeGlzVGl0bGVDdXN0b21pemF0aW9uVGFyZ2V0LCBBbHR1YS5PYWsuQ29yZbEGzQEAvgZGQWx0dWEuT2FrLkNvcmUuUGxvdHRpbmcuQXhpc1RpdGxlTGFiZWxQbGFjZW1lbnRPdXRzaWRlLCBBbHR1YS5PYWsuQ29yZbkGzwECAAHGBl1BbHR1YS5PYWsuQ29yZS5Nb2RpZmljYXRpb24uU3R5bGluZy5BbGxWYWx1ZUF4aXNUaXRsZUxhYmVsQ3VzdG9taXphdGlvblRhcmdldCwgQWx0dWEuT2FrLkNvcmXBBtEBAM4GQkFsdHVhLk9hay5Db3JlLlBsb3R0aW5nLkF4aXNUaXRsZUxhYmVsUGxhY2VtZW50RmFyLCBBbHR1YS5PYWsuQ29yZckG0wECAADWBl9BbHR1YS5PYWsuQ29yZS5Nb2RpZmljYXRpb24uU3R5bGluZy5TZXJpZXNMYWJlbHNXaXRoUGxvdEtpbmRDdXN0b21pemF0aW9uVGFyZ2V0LCBBbHR1YS5PYWsuQ29yZdEG1QEFBdAHCADeBj1BbHR1YS5PYWsuQ29yZS5QbG90dGluZy5MYWJlbFBsYWNlbWVudE91dHNpZGUsIEFsdHVhLk9hay5Db3Jl2QbXAQDhBtUBBQXUBwgA5QbEAQDuBkFBbHR1YS5PYWsuQ29yZS5QbG90dGluZy5BeGlzTGFiZWxQbGFjZW1lbnRPdXRzaWRlLCBBbHR1YS5PYWsuQ29yZekG2wECAQDxBskBAPUGywEA/gZGQWx0dWEuT2FrLkNvcmUuUGxvdHRpbmcuQXV4aWxpYXJ5TGFiZWxQbGFjZW1lbnREZWZhdWx0LCBBbHR1YS5PYWsuQ29yZfkG3wEAhgdQQWx0dWEuT2FrLkNvcmUuTW9kaWZpY2F0aW9uLlN0eWxpbmcuQWxsTGFiZWxzQ3VzdG9taXphdGlvblRhcmdldCwgQWx0dWEuT2FrLkNvcmWBB+EBAI4HQkFsdHVhLk9hay5Db3JlLlN5bnRheFN0cnVjdHVyZS5BY3R1YWxGb250U2l6ZVZhbHVlLCBBbHR1YS5PYWsuQ29yZYkH4wEJAwAAAAAAAChAkQfEAQCaB0NBbHR1YS5PYWsuQ29yZS5TeW50YXhTdHJ1Y3R1cmUuQWN0dWFsRm9udENvbG9yVmFsdWUsIEFsdHVhLk9hay5Db3JllQfmAQUF2QexAZ0H0QEAoQfmAQUF3QexAaUHyQEAqQfmAQUF4QexAa0HzQEAsQfmAQUF5QexAboHL0FsdHVhLkRhdGEuSW5mcmFzdHJ1Y3R1cmUuUGFyYWdyYXBoLCBBbHR1YS5EYXRhtQfuAQUMAwXoB70H7gEFDAMF7AfABwEFxAcKAQIAAIBAAABAQM4HSEFsdHVhLk9hay5Db3JlLlN5bnRheFN0cnVjdHVyZS5QbG90U2VyaWVzQmluZGluZ1N0cmF0ZWd5LCBBbHR1YS5PYWsuQ29yZckH8wEA0AcCCQrUBwEF2QexAQQAAAgA3QexAQQAAAgA4QexAQQAAAgA5QexAQQAAAgA6AcGAQHxB/0B7AcGAQH5B/8B9gcvQWx0dWEuRGF0YS5JbmZyYXN0cnVjdHVyZS5OdW1iZXJSdW4sIEFsdHVhLkRhdGHxB/0BEwQOAwAAAAAAoJ9AHYEIgQINiAj+By1BbHR1YS5EYXRhLkluZnJhc3RydWN0dXJlLlRleHRSdW4sIEFsdHVhLkRhdGH5B/8BCgQFTm9yZ2UNjAiGCD1BbHR1YS5EYXRhLk51bWJlckZvcm1hdHRpbmcuQ29tcG9zaXRlTnVtYmVyRm9ybWF0LCBBbHR1YS5EYXRhgQiBAgsdkAgllAg1mAg9AIgIEgQAHAAkACwANAA8AEwAVABdAIwIEgQAHAAkACwANAA8AEwAVABdAJAICQAADAMFnAgRAJQICQAADAMFoAgRAJgICgQBLAwBLhQCa3KcCAYBAaUIigKgCAoBAq0IjAKlCIoCqghAQWx0dWEuRGF0YS5OdW1iZXJGb3JtYXR0aW5nLk51bWJlckZvcm1hdFZhbHVlU2VnbWVudCwgQWx0dWEuRGF0YaUIigIFBAMFtAiyCD9BbHR1YS5EYXRhLk51bWJlckZvcm1hdHRpbmcuTnVtYmVyRm9ybWF0VGV4dFNlZ21lbnQsIEFsdHVhLkRhdGGtCIwCBQQBLQkBtAgGAQG5CI8Cvgg5QWx0dWEuRGF0YS5OdW1iZXJGb3JtYXR0aW5nLk51bWJlclBsYWNlaG9sZGVyLCBBbHR1YS5EYXRhuQiPAgUCMAAAAA=="/>
  <p:tag name="GRUNT-SYNC" val="e26890f772cb451986c4643b4c68655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2x4KN0FsdHVhLkRhdGEuRGF0YVNlcnZpY2VzLkVtYmVkZGVkRGF0YVNlcnZpY2UsIEFsdHVhLkRhdGEFAhkEEgQQqgoyOiF/D0KSOntt6nOgww0MJREFDAYFGAgUEAoWQUFsdHVhLkRhdGEuRGF0YVNlcnZpY2VzLkVtYmVkZGVkRGF0YVNlcnZpY2VFZGl0b3JEYXRhLCBBbHR1YS5EYXRhEQUEBRwNIBgGBSQNKBUsHDwdBBIEENNz8cQb9wFOoDLwDWItJDkLAAAAAAAAHEAdBBIEEB/rjDimIctLiTIXQgTfWDQLAAAAAAAgYkAgeB0EEgQQBbe507cO9EmRZBhNRm5FrAsAAAAAAAAyQB0EEgQQhB+R4huFNUGwuFZrPUlJDwsAAAAAAAAyQB0EEgQQ+SxZ/v3fb0W5/mfTI9KrIwsAAAAAAAAyQB0EEgQQpMGu42cTaEKoGY8xflruyQsAAAAAAAAyQCQFMDQ4PEAoA0RITCymBSwEKAQSBBDajSsQe0+aTJlGK/NOL/gcDBIEEF+XkJfEWrtCmxAwBnFOxVkNUCwEKAQSBBB1npiRXEMrR4CNoMsd75TjDBIEEF+XkJfEWrtCmxAwBnFOxVkNVCwEKAQSBBAf64w4piHLS4kyF0IE31g0DBIEEBF5bi6YHOlPpT4SGa3b+1UNWCwEKAQSBBAf64w4piHLS4kyF0IE31g0DBIEEOjcGhWyCfxHkHpCy/xxYFsNXCwEKAQSBBDiZ4LqncAVT7eeYK508WqGDBIEEF+XkJfEWrtCmxAwBnFOxVkNYCwEKAQSBBAf64w4piHLS4kyF0IE31g0DBIEEF+XkJfEWrtCmxAwBnFOxVkNZCwEKAQSBBD3DW6nGDeySJvO+xOVXgd1DBIEEF+XkJfEWrtCmxAwBnFOxVkNaCwEKAQSBBB1npiRXEMrR4CNoMsd75TjDBIEEBF5bi6YHOlPpT4SGa3b+1UNbCwEKAQSBBD3DW6nGDeySJvO+xOVXgd1DBIEEBF5bi6YHOlPpT4SGa3b+1UNcCwEKAQSBBDiZ4LqncAVT7eeYK508WqGDBIEEBF5bi6YHOlPpT4SGa3b+1UNdCwEKAQSBBDajSsQe0+aTJlGK/NOL/gcDBIEEBF5bi6YHOlPpT4SGa3b+1UNeCwEKAQSBBD3DW6nGDeySJvO+xOVXgd1DBIEEOjcGhWyCfxHkHpCy/xxYFsNfC0EKAQSBBDiZ4LqncAVT7eeYK508WqGDBIEEOjcGhWyCfxHkHpCy/xxYFsNgAEtBCgEEgQQ2o0rEHtPmkyZRivzTi/4HAwSBBDo3BoVsgn8R5B6Qsv8cWBbDYQBLQQoBBIEEHWemJFcQytHgI2gyx3vlOMMEgQQ6NwaFbIJ/EeQekLL/HFgWw2IATAaBBIEENqNKxB7T5pMmUYr804v+BwMAkMxGQE0GgQSBBAf64w4piHLS4kyF0IE31g0DAJDMhkBOBoEEgQQdZ6YkVxDK0eAjaDLHe+U4wwCQzMZATwbBBIEEPcNbqcYN7JIm877E5VeB3UMA0MxOBkBQBsEEgQQ4meC6p3AFU+3nmCudPFqhgwDQzE5GQFEGgQSBBBfl5CXxFq7QpsQMAZxTsVZDAJSMRkBSBoEEgQQ6NwaFbIJ/EeQekLL/HFgWwwCUjIZAUwaBBIEEBF5bi6YHOlPpT4SGa3b+1UMAlI3GQFQBg2MARWQAVQGDYwBFZQBWAYNmAEVnAFcBg2MARWgAWAGDZgBFaQBZAYNjAEVqAFoBg2YARWsAWwGDZgBFbABcAYNmAEVtAF0Bg2YARW4AXgGDZgBFbwBfAYNmAEVwAGAAQYNmAEVxAGEAQYNjAEVyAGIAQYNjAEVzAGMAQIEAJABBQQDBdABlAEFBAMF1AGYAQIEAJwBBQQDBdgBoAEFBAMF3AGkAQUEAwXgAagBBQQDBeQBrAEFBAMF6AGwAQUEAwXsAbQBBQQDBfABuAEFBAMF9AG8AQUEAwX4AcABBQQDBfwBxAEFBAMFgALIAQUEAwWEAswBBQQDBYgC0AECAQDUAQUBAY0CRNgBBQEBlQJE3AEFAQGZAkTgAQUBAZ0CROQBBQEBoQJE6AEFAQGlAkTsAQUBAakCRPABBQEBrQJE9AEFAQGxAkT4AQUBAbUCRPwBBQEBuQJEgAIFAQG9AkSEAgUBAcECRIgCBQEBxQJEkgIvQWx0dWEuRGF0YS5JbmZyYXN0cnVjdHVyZS5QYXJhZ3JhcGgsIEFsdHVhLkRhdGGNAkQFDAMFyAKVAkQFDAMFzAKZAkQFDAMF0AKdAkQFDAMF1AKhAkQFDAMF2AKlAkQFDAMF3AKpAkQFDAMF4AKtAkQFDAMF5AKxAkQFDAMF6AK1AkQFDAMF7AK5AkQFDAMF8AK9AkQFDAMF9ALBAkQFDAMF+ALFAkQFDAMF/ALIAgUBAYEDYcwCBQEBiQNj0AIFAQGRA2PUAgUBAZUDYdgCBQEBmQNh3AIFAQGdA2HgAgUBAaEDY+QCBQEBpQNj6AIFAQGpA2PsAgUBAa0DY/ACBQEBsQNj9AIFAQG1A2P4AgUBAbkDY/wCBQEBvQNjhgMtQWx0dWEuRGF0YS5JbmZyYXN0cnVjdHVyZS5UZXh0UnVuLCBBbHR1YS5EYXRhgQNhFAQPVHLDuG5kZWxhZyBTw7hyDcADjgMvQWx0dWEuRGF0YS5JbmZyYXN0cnVjdHVyZS5OdW1iZXJSdW4sIEFsdHVhLkRhdGGJA2MSBA0DAAAAAAAANUAdxQNyDcwDkQNjEgQNAwAAAAAAADtAHdEDcg3UA5UDYQoEBU5vcmdlDdgDmQNhFAQPVHLDuG5kZWxhZyBOb3JkDdwDnQNhFQQQTcO4cmUgb2cgUm9tc2RhbA3AA6EDYxIEDQMAAAAAAIBHQB3hA3IN5AOlA2MSBA0DAAAAAAAANEAd6QNyDewDqQNjEgQNAwAAAAAAAEJAHfEDcg30A60DYxIEDQMAAAAAAJyfQB35A3IN/AOxA2MSBA0DAAAAAAAAOEAdgQRyDYQEtQNjEgQNAwAAAAAAgEJAHYkEcg2MBLkDYxIEDQMAAAAAAKCfQB2RBHINlAS9A2MSBA0DAAAAAAAASUAdmQRyDZwEwAMSBAAcACQALAA0ADwATABUAF0AygM9QWx0dWEuRGF0YS5OdW1iZXJGb3JtYXR0aW5nLkNvbXBvc2l0ZU51bWJlckZvcm1hdCwgQWx0dWEuRGF0YcUDcgsdoAQlpAQ1qAQ9AMwDEgQAHAAkACwANAA8AEwAVABdANEDcgsdrAQlsAQ1tAQ9ANQDEgQAHAAkACwANAA8AEwAVABdANgDEgQAHAAkACwANAA8AEwAVABdANwDEgQAHAAkACwANAA8AEwAVABdAOEDcgsduAQlvAQ1wAQ9AOQDEgQAHAAkACwANAA8AEwAVABdAOkDcgsdxAQlyAQ1zAQ9AOwDEgQAHAAkACwANAA8AEwAVABdAPEDcgsd0AQl1AQ12AQ9APQDEgQAHAAkACwANAA8AEwAVABdAPkDcgsd3AQl4AQ15AQ9APwDEgQAHAAkACwANAA8AEwAVABdAIEEcgsd6AQl7AQ18AQ9AIQEEgQAHAAkACwANAA8AEwAVABdAIkEcgsd9AQl+AQ1/AQ9AIwEEgQAHAAkACwANAA8AEwAVABdAJEEcgsdgAUlhAU1iAU9AJQEEgQAHAAkACwANAA8AEwAVABdAJkEcgsdjAUlkAU1lAU9AJwEEgQAHAAkACwANAA8AEwAVABdAKAECQAADAMFmAURAKQECQAADAMFnAURAKgECgQBLAwBLhQCa3KsBAkAAAwDBaAFEQCwBAkAAAwDBaQFEQC0BAoEASwMAS4UAmtyuAQJAAAMAwWoBREAvAQJAAAMAwWsBREAwAQKBAEsDAEuFAJrcsQECQAADAMFsAURAMgECQAADAMFtAURAMwECgQBLAwBLhQCa3LQBAkAAAwDBbgFEQDUBAkAAAwDBbwFEQDYBAoEASwMAS4UAmty3AQJAAAMAwXABREA4AQJAAAMAwXEBREA5AQKBAEsDAEuFAJrcugECQAADAMFyAURAOwECQAADAMFzAURAPAECgQBLAwBLhQCa3L0BAkAAAwDBdAFEQD4BAkAAAwDBdQFEQD8BAoEASwMAS4UAmtygAUJAAAMAwXYBREAhAUJAAAMAwXcBREAiAUKBAEsDAEuFAJrcowFCQAADAMF4AURAJAFCQAADAMF5AURAJQFCgQBLAwBLhQCa3KYBQYBAekFuwGcBQoBAvEFvQHpBbsBoAUGAQH5BbsBpAUKAQL9Bb0B+QW7AagFBgEBgQa7AawFCgEChQa9AYEGuwGwBQYBAYkGuwG0BQoBAo0GvQGJBrsBuAUGAQGRBrsBvAUKAQKVBr0BkQa7AcAFBgEBmQa7AcQFCgECnQa9AZkGuwHIBQYBAaEGuwHMBQoBAqUGvQGhBrsB0AUGAQGpBrsB1AUKAQKtBr0BqQa7AdgFBgEBsQa7AdwFCgECtQa9AbEGuwHgBQYBAbkGuwHkBQoBAr0GvQG5BrsB7gVAQWx0dWEuRGF0YS5OdW1iZXJGb3JtYXR0aW5nLk51bWJlckZvcm1hdFZhbHVlU2VnbWVudCwgQWx0dWEuRGF0YekFuwEFBAMFwAb2BT9BbHR1YS5EYXRhLk51bWJlckZvcm1hdHRpbmcuTnVtYmVyRm9ybWF0VGV4dFNlZ21lbnQsIEFsdHVhLkRhdGHxBb0BBQQBLQkB+QW7AQUEAwXEBv0FvQEFBAEtCQGBBrsBBQQDBcgGhQa9AQUEAS0JAYkGuwEFBAMFzAaNBr0BBQQBLQkBkQa7AQUEAwXQBpUGvQEFBAEtCQGZBrsBBQQDBdQGnQa9AQUEAS0JAaEGuwEFBAMF2AalBr0BBQQBLQkBqQa7AQUEAwXcBq0GvQEFBAEtCQGxBrsBBQQDBeAGtQa9AQUEAS0JAbkGuwEFBAMF5Aa9Br0BBQQBLQkBwAYGAQHpBtsBxAYGAQHpBtsByAYGAQHpBtsBzAYGAQHpBtsB0AYGAQHpBtsB1AYGAQHxBtsB2AYGAQHpBtsB3AYGAQHpBtsB4AYGAQH1BtsB5AYGAQHpBtsB7gY5QWx0dWEuRGF0YS5OdW1iZXJGb3JtYXR0aW5nLk51bWJlclBsYWNlaG9sZGVyLCBBbHR1YS5EYXRh6QbbAQUCMAAAAPEG2wEFAjAAAAD1BtsBBQIwAAAA"/>
  <p:tag name="GRUNT-RENDERHASH" val="f5035813c47491688a2c4e13f00b15a2-svg"/>
  <p:tag name="GRUNT-X-SHAPEBOUNDS" val="ASIBBAAAAGCHPHdAAAAAgFZRcUAAAAAANMVxQAAAAMApCGNAAA=="/>
  <p:tag name="GRUNT-X-PAGEOBJECT" val="AQUC7S0KOEFsdHVhLk9hay5Db3JlLkRvY3VtZW50TW9kZWwuQ2hhcnRPYmplY3QsIEFsdHVhLk9hay5Db3JlBQI1BBIEEM9A+k5ROjdHubsPFDP5WgsMEgQQqgoyOiF/D0KSOntt6nOgwxUNBCUUNRg9HFUgZSQSUEFsdHVhLk9hay5Db3JlLkRvY3VtZW50TW9kZWwuVGVtcGxhdGluZy5DdXN0b21Qb3NpdGlvbkRlZmluaXRpb24sIEFsdHVhLk9hay5Db3JlDQQkBCIBBMW1/2CHQHdA2yUoQiMeckBHP8/4M71xQNDNxea5dlxAFBMVKB0sNTA4AEU1DlU8XUBkAgVEGAQEAgVIHAIFTCALBVAMBW5iLU5PFVQkEAEBCQERARkBIQEpATEBOQAoFgQSBBAAAAAAAAAAAAAAAAAAAAAACAEsFgQSBBAAAAAAAAAAAAAAAAAAAAAACAEwADpHQWx0dWEuT2FrLkNvcmUuQ2hhcnQuQ2x1c3RlcmVkQmFyV2l0aExpbmVQbG90RGVmaW5pdGlvbiwgQWx0dWEuT2FrLkNvcmU1DjUEEgQQdhBd/5dL/E2z83G6glmqL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CxkS1xRSQjSq3rSATOpvaVFYQCHBIEEBF5bi6YHOlPpT4SGa3b+1UkAC2IAjWNAkSMAUgEEgQQOa6hS2PnK1Gv94eZJj3pqAwSBBCxkS1xRSQjSq3rSATOpvaVFZQCHBIEEOjcGhWyCfxHkHpCy/xxYFskAC2YAjWNAkSQAUIBABgDJZwCKQAxAEAASAJVoAJdpAJkEgQQsZEtcUUkI0qt60gEzqb2lW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0a85c811770842adbe0a535fbbddcd8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lhoKN0FsdHVhLkRhdGEuRGF0YVNlcnZpY2VzLkVtYmVkZGVkRGF0YVNlcnZpY2UsIEFsdHVhLkRhdGEFAhkEEgQQQcGGSbXPaUSnB8wfoSSr3g0MJREFDAYFGAgUEAoWQUFsdHVhLkRhdGEuRGF0YVNlcnZpY2VzLkVtYmVkZGVkRGF0YVNlcnZpY2VFZGl0b3JEYXRhLCBBbHR1YS5EYXRhEQUEBRwNIBgGBSQNKBUsHFodBBIEENNz8cQb9wFOoDLwDWItJDkLAAAAAAAAHEAdBBIEEB/rjDimIctLiTIXQgTfWDQLAAAAAAAgYkAdBBIEEOJnguqdwBVPt55grnTxaoYLAAAAAACAREAgeB0EEgQQBbe507cO9EmRZBhNRm5FrAsAAAAAAAAyQB0EEgQQhB+R4huFNUGwuFZrPUlJDwsAAAAAAAAyQB0EEgQQ+SxZ/v3fb0W5/mfTI9KrIwsAAAAAAAAyQB0EEgQQpMGu42cTaEKoGY8xflruyQsAAAAAAAAyQCQEMDQ4PCgDQERILJwELAQoBBIEENqNKxB7T5pMmUYr804v+BwMEgQQX5eQl8Rau0KbEDAGcU7FWQ1MLAQoBBIEEHWemJFcQytHgI2gyx3vlOMMEgQQX5eQl8Rau0KbEDAGcU7FWQ1QLAQoBBIEEB/rjDimIctLiTIXQgTfWDQMEgQQEXluLpgc6U+lPhIZrdv7VQ1ULAQoBBIEEB/rjDimIctLiTIXQgTfWDQMEgQQ6NwaFbIJ/EeQekLL/HFgWw1YLAQoBBIEEB/rjDimIctLiTIXQgTfWDQMEgQQX5eQl8Rau0KbEDAGcU7FWQ1cLAQoBBIEEPcNbqcYN7JIm877E5VeB3UMEgQQX5eQl8Rau0KbEDAGcU7FWQ1gLAQoBBIEEHWemJFcQytHgI2gyx3vlOMMEgQQEXluLpgc6U+lPhIZrdv7VQ1kLAQoBBIEEPcNbqcYN7JIm877E5VeB3UMEgQQEXluLpgc6U+lPhIZrdv7VQ1oLAQoBBIEENqNKxB7T5pMmUYr804v+BwMEgQQEXluLpgc6U+lPhIZrdv7VQ1sLAQoBBIEEPcNbqcYN7JIm877E5VeB3UMEgQQ6NwaFbIJ/EeQekLL/HFgWw1wLAQoBBIEENqNKxB7T5pMmUYr804v+BwMEgQQ6NwaFbIJ/EeQekLL/HFgWw10LAQoBBIEEHWemJFcQytHgI2gyx3vlOMMEgQQ6NwaFbIJ/EeQekLL/HFgWw14MBoEEgQQ2o0rEHtPmkyZRivzTi/4HAwCQzEZATQaBBIEEB/rjDimIctLiTIXQgTfWDQMAkMyGQE4GgQSBBB1npiRXEMrR4CNoMsd75TjDAJDMxkBPBsEEgQQ9w1upxg3skibzvsTlV4HdQwDQzE4GQFAGgQSBBBfl5CXxFq7QpsQMAZxTsVZDAJSMRkBRBoEEgQQ6NwaFbIJ/EeQekLL/HFgWwwCUjIZAUgaBBIEEBF5bi6YHOlPpT4SGa3b+1UMAlI3GQFMBQ18FYABUAUNfBWEAVQGDYgBFYwBWAUNfBWQAVwFDXwVlAFgBg2IARWYAWQGDYgBFZwBaAYNiAEVoAFsBg2IARWkAXAGDYgBFagBdAUNfBWsAXgFDXwVsAF8AgQAgAEFBAMFtAGEAQUEAwW4AYgBAgQAjAEFBAMFvAGQAQUEAwXAAZQBBQQDBcQBmAEFBAMFyAGcAQUEAwXMAaABBQQDBdABpAEFBAMF1AGoAQUEAwXYAawBBQQDBdwBsAEFBAMF4AG0AQIBALgBBQEB5QE6vAEFAQHtATrAAQUBAfEBOsQBBQEB9QE6yAEFAQH5ATrMAQUBAf0BOtABBQEBgQI61AEFAQGFAjrYAQUBAYkCOtwBBQEBjQI64AEFAQGRAjrqAS9BbHR1YS5EYXRhLkluZnJhc3RydWN0dXJlLlBhcmFncmFwaCwgQWx0dWEuRGF0YeUBOgUMAwWUAu0BOgUMAwWYAvEBOgUMAwWcAvUBOgUMAwWgAvkBOgUMAwWkAv0BOgUMAwWoAoECOgUMAwWsAoUCOgUMAwWwAokCOgUMAwW0Ao0COgUMAwW4ApECOgUMAwW8ApQCBQEBwQJRmAIFAQHJAlOcAgUBAdECU6ACBQEB1QJRpAIFAQHZAlGoAgUBAd0CU6wCBQEB4QJTsAIFAQHlAlO0AgUBAekCU7gCBQEB7QJTvAIFAQHxAlPGAi1BbHR1YS5EYXRhLkluZnJhc3RydWN0dXJlLlRleHRSdW4sIEFsdHVhLkRhdGHBAlESBA01LjAwMOKAkzkuOTk5DfQCzgIvQWx0dWEuRGF0YS5JbmZyYXN0cnVjdHVyZS5OdW1iZXJSdW4sIEFsdHVhLkRhdGHJAlMSBA0DAAAAAAAAPUAd+QJfDYAD0QJTEgQNAwAAAAAAAEdAHYUDXw2IA9UCURAEC1VuZGVyIDUuMDAwDYwD2QJRFwQSMTAuMDAwIGVsbGVyIGZsZXJlDZAD3QJTEgQNAwAAAAAAgEBAHZUDXw2YA+ECUxIEDQMAAAAAAAA8QB2dA18NoAPlAlMSBA0DAAAAAACcn0AdpQNfDagD6QJTEgQNAwAAAAAAADJAHa0DXw2wA+0CUxIEDQMAAAAAAKCfQB21A18NuAPxAlMSBA0DAAAAAACAREAdvQNfDcAD9AISBAAcACQALAA0ADwATABUAF0A/gI9QWx0dWEuRGF0YS5OdW1iZXJGb3JtYXR0aW5nLkNvbXBvc2l0ZU51bWJlckZvcm1hdCwgQWx0dWEuRGF0YfkCXwsdxAMlyAM1zAM9AIADEgQAHAAkACwANAA8AEwAVABdAIUDXwsd0AMl1AM12AM9AIgDEgQAHAAkACwANAA8AEwAVABdAIwDEgQAHAAkACwANAA8AEwAVABdAJADEgQAHAAkACwANAA8AEwAVABdAJUDXwsd3AMl4AM15AM9AJgDEgQAHAAkACwANAA8AEwAVABdAJ0DXwsd6AMl7AM18AM9AKADEgQAHAAkACwANAA8AEwAVABdAKUDXwsd9AMl+AM1/AM9AKgDEgQAHAAkACwANAA8AEwAVABdAK0DXwsdgAQlhAQ1iAQ9ALADEgQAHAAkACwANAA8AEwAVABdALUDXwsdjAQlkAQ1lAQ9ALgDEgQAHAAkACwANAA8AEwAVABdAL0DXwsdmAQlnAQ1oAQ9AMADEgQAHAAkACwANAA8AEwAVABdAMQDCQAADAMFpAQRAMgDCQAADAMFqAQRAMwDCgQBLAwBLhQCa3LQAwkAAAwDBawEEQDUAwkAAAwDBbAEEQDYAwoEASwMAS4UAmty3AMJAAAMAwW0BBEA4AMJAAAMAwW4BBEA5AMKBAEsDAEuFAJrcugDCQAADAMFvAQRAOwDCQAADAMFwAQRAPADCgQBLAwBLhQCa3L0AwkAAAwDBcQEEQD4AwkAAAwDBcgEEQD8AwoEASwMAS4UAmtygAQJAAAMAwXMBBEAhAQJAAAMAwXQBBEAiAQKBAEsDAEuFAJrcowECQAADAMF1AQRAJAECQAADAMF2AQRAJQECgQBLAwBLhQCa3KYBAkAAAwDBdwEEQCcBAkAAAwDBeAEEQCgBAoEASwMAS4UAmtypAQGAQHlBJoBqAQKAQLtBJwB5QSaAawEBgEB9QSaAbAECgEC+QScAfUEmgG0BAYBAf0EmgG4BAoBAoEFnAH9BJoBvAQGAQGFBZoBwAQKAQKJBZwBhQWaAcQEBgEBjQWaAcgECgECkQWcAY0FmgHMBAYBAZUFmgHQBAoBApkFnAGVBZoB1AQGAQGdBZoB2AQKAQKhBZwBnQWaAdwEBgEBpQWaAeAECgECqQWcAaUFmgHqBEBBbHR1YS5EYXRhLk51bWJlckZvcm1hdHRpbmcuTnVtYmVyRm9ybWF0VmFsdWVTZWdtZW50LCBBbHR1YS5EYXRh5QSaAQUEAwWsBfIEP0FsdHVhLkRhdGEuTnVtYmVyRm9ybWF0dGluZy5OdW1iZXJGb3JtYXRUZXh0U2VnbWVudCwgQWx0dWEuRGF0Ye0EnAEFBAEtCQH1BJoBBQQDBbAF+QScAQUEAS0JAf0EmgEFBAMFtAWBBZwBBQQBLQkBhQWaAQUEAwW4BYkFnAEFBAEtCQGNBZoBBQQDBbwFkQWcAQUEAS0JAZUFmgEFBAMFwAWZBZwBBQQBLQkBnQWaAQUEAwXEBaEFnAEFBAEtCQGlBZoBBQQDBcgFqQWcAQUEAS0JAawFBgEBzQW0AbAFBgEBzQW0AbQFBgEBzQW0AbgFBgEBzQW0AbwFBgEB1QW0AcAFBgEBzQW0AcQFBgEB2QW0AcgFBgEBzQW0AdIFOUFsdHVhLkRhdGEuTnVtYmVyRm9ybWF0dGluZy5OdW1iZXJQbGFjZWhvbGRlciwgQWx0dWEuRGF0Yc0FtAEFAjAAAADVBbQBBQIwAAAA2QW0AQUCMAAAAA=="/>
  <p:tag name="GRUNT-RENDERHASH" val="7792b50f8dce23f5b959d95b1a2c720c-svg"/>
  <p:tag name="GRUNT-X-SHAPEBOUNDS" val="ASIBBAAAACB+xIVAAAAAwOj1cUAAAADArzltQAAAAIBrZWBAAA=="/>
  <p:tag name="GRUNT-X-PAGEOBJECT" val="AQUC7S0KOEFsdHVhLk9hay5Db3JlLkRvY3VtZW50TW9kZWwuQ2hhcnRPYmplY3QsIEFsdHVhLk9hay5Db3JlBQI1BBIEEORiAYsb1hhPp8zbG254XrwMEgQQQcGGSbXPaUSnB8wfoSSr3hUNBCUUNRg9HFUgZSQSUEFsdHVhLk9hay5Db3JlLkRvY3VtZW50TW9kZWwuVGVtcGxhdGluZy5DdXN0b21Qb3NpdGlvbkRlZmluaXRpb24sIEFsdHVhLk9hay5Db3JlDQQkBCIBBAAAACB+xoVApJSmjbXCckC8dWyxryltQKwSzLhw5FlAFBMVKB0sNTA4AEU1DlU8XUBkAgVEGAQEAgVIHAIFTCALBVAMBW5iLU5PFVQkEAEBCQERARkBIQEpATEBOQAoFgQSBBAAAAAAAAAAAAAAAAAAAAAACAEsFgQSBBAAAAAAAAAAAAAAAAAAAAAACAEwADpHQWx0dWEuT2FrLkNvcmUuQ2hhcnQuQ2x1c3RlcmVkQmFyV2l0aExpbmVQbG90RGVmaW5pdGlvbiwgQWx0dWEuT2FrLkNvcmU1DjUEEgQQQvGtSXY88UuqF/n0jAAMUh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Axk/0vEzBiR5RNOPdSA8YaFYQCHBIEEBF5bi6YHOlPpT4SGa3b+1UkAC2IAjWNAkSMAUgEEgQQOa6hS2PnK1Gv94eZJj3pqAwSBBAxk/0vEzBiR5RNOPdSA8YaFZQCHBIEEOjcGhWyCfxHkHpCy/xxYFskAC2YAjWNAkSQAUIBABgDJZwCKQAxAEAASAJVoAJdpAJkEgQQMZP9LxMwYkeUTTj3UgPGGm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0d4f2b490b214b98af945ec19c0bc4bc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RENDERHASH" val="d49e8f379195b3dd3021d6765424e401-svg"/>
  <p:tag name="GRUNT-X-SHAPEBOUNDS" val="ASIBBAAAAOBLMkpAAAAAIHzcfEAAAABAmaZaQAAAAODCVzRAAA=="/>
  <p:tag name="GRUNT-X-PAGEOBJECT" val="AQUCswIKPkFsdHVhLk9hay5Db3JlLkRvY3VtZW50TW9kZWwuQ2hhcnRMZWdlbmRPYmplY3QsIEFsdHVhLk9hay5Db3JlBQI5BBIEEBhp54+sx4JApDA+/laJ+iUUEgQQdhBd/5dL/E2z83G6glmqLy0MNRBEAgUUSABVGQdlIG0kDAQEAgUoEAIFLBQCAQAeUEFsdHVhLk9hay5Db3JlLkRvY3VtZW50TW9kZWwuVGVtcGxhdGluZy5DdXN0b21Qb3NpdGlvbkRlZmluaXRpb24sIEFsdHVhLk9hay5Db3JlGQckBCIBBKAa6+NLMkpAAAAAInzcfEAoEkw0maZaQKCVT+vCVzRAIAsFMAwFbmItTk8VNCQEAQEJASgCAQAsADAKBAEsDAEgFAJrcjQJBAVuYi1OTwgB"/>
  <p:tag name="GRUNT-SYNC" val="0387e14a4b084f86927818f4a57f5eb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RENDERHASH" val="d5a9d51120abc00bd7d05131d8429ddd-svg"/>
  <p:tag name="GRUNT-X-SHAPEBOUNDS" val="ASIBBAAAAGCHAHdAAAAAIHzcfEAAAABgfMVcQAAAAODCVzRAAA=="/>
  <p:tag name="GRUNT-X-PAGEOBJECT" val="AQUCswIKPkFsdHVhLk9hay5Db3JlLkRvY3VtZW50TW9kZWwuQ2hhcnRMZWdlbmRPYmplY3QsIEFsdHVhLk9hay5Db3JlBQI5BBIEEBIT/PVhcHZBkdabZgB8qd0UEgQQQvGtSXY88UuqF/n0jAAMUi0MNRBEAgUUSABVGQdlIG0kDAQEAgUoEAIFLBQCAQAeUEFsdHVhLk9hay5Db3JlLkRvY3VtZW50TW9kZWwuVGVtcGxhdGluZy5DdXN0b21Qb3NpdGlvbkRlZmluaXRpb24sIEFsdHVhLk9hay5Db3JlGQckBCIBBMW1/2CHAHdAAAAAInzcfEDgZ5BlfMVcQKCVT+vCVzRAIAsFMAwFbmItTk8VNCQEAQEJASgCAQAsADAKBAEsDAEgFAJrcjQJBAVuYi1OTwgB"/>
  <p:tag name="GRUNT-SYNC" val="934a8a2447594389ad870620ef95f08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RENDERHASH" val="0864199330b82ddbdbf15e3f4bda109b-svg"/>
  <p:tag name="GRUNT-X-SHAPEBOUNDS" val="ASIBBAAAACB+joVAAAAAIHzcfEAAAABgfMVcQAAAAODCVzRAAA=="/>
  <p:tag name="GRUNT-X-PAGEOBJECT" val="AQUCswIKPkFsdHVhLk9hay5Db3JlLkRvY3VtZW50TW9kZWwuQ2hhcnRMZWdlbmRPYmplY3QsIEFsdHVhLk9hay5Db3JlBQI5BBIEELemA84JkoBBj0LCRA+DoQMUEgQQQvGtSXY88UuqF/n0jAAMUi0MNRBEAgUUSABVGQdlIG0kDAQEAgUoEAIFLBQCAQAeUEFsdHVhLk9hay5Db3JlLkRvY3VtZW50TW9kZWwuVGVtcGxhdGluZy5DdXN0b21Qb3NpdGlvbkRlZmluaXRpb24sIEFsdHVhLk9hay5Db3JlGQckBCIBBAAAACB+joVAAAAAInzcfEDgZ5BlfMVcQKCVT+vCVzRAIAsFMAwFbmItTk8VNCQEAQEJASgCAQAsADAKBAEsDAEgFAJrcjQJBAVuYi1OTwgB"/>
  <p:tag name="GRUNT-SYNC" val="3ff7bb10465c4b83a4e0a28e01be158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9f4faf7e-d35f-4491-9cd0-abc960c7de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e3a52d47-8668-4ea3-aaf9-35236b5b0aed"/>
  <p:tag name="GRUNT-X-RESOURCES" val="AQIFBAQEAgEA"/>
  <p:tag name="GRUNT-VERSION" val="20.24.1.0"/>
  <p:tag name="GRUNT-VERSION-2" val="2024.1-r2-4069"/>
  <p:tag name="GRUNT-X-DATASERVICE" val="AQUC7zgKNEFsdHVhLkRhdGEuRGF0YVNlcnZpY2VzLkV4Y2VsRGF0YVNlcnZpY2UsIEFsdHVhLkRhdGEFAhwEEgQQx+ImEwOEvEGBCo2qaMXKNRUMHREFLRkHDAYFIA0kFSgWPUFsdHVhLkRhdGEuUHJpbWl0aXZlcy5FeGNlbC5FeGNlbEltcG9ydERlZmluaXRpb24sIEFsdHVhLkRhdGERBQ4FLQwIABQCBTQdOCU9EB5BQWx0dWEuRGF0YS5EYXRhU2VydmljZXMuRW1iZWRkZWREYXRhU2VydmljZUVkaXRvckRhdGEsIEFsdHVhLkRhdGEZBwQFRA1IIAQFTA1QJAYFVAgNEAEoAgVYMjRBbHR1YS5EYXRhLlByaW1pdGl2ZXMuRXhjZWwuRXhjZWxBZGRyZXNzLCBBbHR1YS5EYXRhLQwFFVwdYRk0AgEAOAoBARAAGAAhACgBQkBBbHR1YS5EYXRhLkV4Y2VsLlJlYWRpbmcuRGVmYXVsdEV4Y2VsUmVhZGluZ1N0cmF0ZWd5LCBBbHR1YS5EYXRhPRAARFodBBIEELBA5PPxgyJFg7avOo/L+LwLAAAAAACAREAdBBIEEJWN3loxasNNr8A2UiSIhJULAAAAAAAAHEAdBBIEEOcEq3k9+NNOsUWXZWvQF4sLAAAAAABgYEBIAEwLBWgL97t4w0Zv3EhQAgVsVAYFcA10FXhYtwEsBCgEEgQQdFV39rLQSES1ql7rQpERGwwSBBACAAAAAAAAAAAAAAAAAAAADXwtBCgEEgQQdFV39rLQSES1ql7rQpERGwwSBBACAAAAAAAAAAAAAAABAAABDYABLQQoBBIEEDrYpW4sYOxKuT9SbnDxRDUMEgQQAgAAAAAAAAAAAAAAAAAAAA2EAS0EKAQSBBA62KVuLGDsSrk/Um5w8UQ1DBIEEAIAAAAAAAAAAAAAAAEAAAENiAFcBgkBFY0BJGY3QWx0dWEuRGF0YS5SZWFkZXJzLkV4Y2VsLlNwZWNpZmljRXhjZWxSYW5nZSwgQWx0dWEuRGF0YWEZCQWUAQwEQXJrMmgJBZgBDZwBFaABbJgHLQQoBBIEEAEAAAAAAAAAAAAAAAEAAAEMEgQQAgAAAAAAAAAAAAAACQAACQ2kAS0EKAQSBBABAAAAAAAAAAAAAAAAAAAADBIEEAIAAAAAAAAAAAAAAAkAAAkNqAEtBCgEEgQQAQAAAAAAAAAAAAAAAAAAAAwSBBACAAAAAAAAAAAAAAAHAAAHDawBLQQoBBIEEAEAAAAAAAAAAAAAAAEAAAEMEgQQAgAAAAAAAAAAAAAABQAABQ2wAS0EKAQSBBABAAAAAAAAAAAAAAABAAABDBIEEAIAAAAAAAAAAAAAAAIAAAINtAEtBCgEEgQQAQAAAAAAAAAAAAAAAAAAAAwSBBACAAAAAAAAAAAAAAAGAAAGDbgBLQQoBBIEEAEAAAAAAAAAAAAAAAEAAAEMEgQQAgAAAAAAAAAAAAAACAAACA28AS0EKAQSBBABAAAAAAAAAAAAAAABAAABDBIEEAIAAAAAAAAAAAAAAAcAAAcNwAEtBCgEEgQQAQAAAAAAAAAAAAAAAAAAAAwSBBACAAAAAAAAAAAAAAADAAADDcQBLQQoBBIEEAEAAAAAAAAAAAAAAAEAAAEMEgQQAgAAAAAAAAAAAAAABgAABg3IAS0EKAQSBBABAAAAAAAAAAAAAAABAAABDBIEEAIAAAAAAAAAAAAAAAMAAAMNzAEtBCgEEgQQAQAAAAAAAAAAAAAAAAAAAAwSBBACAAAAAAAAAAAAAAAFAAAFDdABLQQoBBIEEAEAAAAAAAAAAAAAAAAAAAAMEgQQAgAAAAAAAAAAAAAABAAABA3UAS0EKAQSBBABAAAAAAAAAAAAAAABAAABDBIEEAIAAAAAAAAAAAAAAAQAAAQN2AEtBCgEEgQQAQAAAAAAAAAAAAAAAAAAAAwSBBACAAAAAAAAAAAAAAAAAAAADdwBLQQoBBIEEAEAAAAAAAAAAAAAAAAAAAAMEgQQAgAAAAAAAAAAAAAAAgAAAg3gAS0EKAQSBBABAAAAAAAAAAAAAAABAAABDBIEEAIAAAAAAAAAAAAAAAEAAAEN5AEtBCgEEgQQAQAAAAAAAAAAAAAAAAAAAAwSBBACAAAAAAAAAAAAAAAIAAAIDegBLQQoBBIEEAEAAAAAAAAAAAAAAAEAAAEMEgQQAgAAAAAAAAAAAAAAAAAAAA3sAS0EKAQSBBABAAAAAAAAAAAAAAAAAAAADBIEEAIAAAAAAAAAAAAAAAEAAAEN8AFwBPQB+AF0AHgAfAYN/AEVgAKAAQYN/AEVhAKEAQYN/AEViAKIAQYN/AEVjAKSAU9BbHR1YS5MaWJyYXJ5LlNlcmlhbGl6YWJsZS5TdG9yYWdlLk9uZURyaXZlRmlsZVBhdGgsIEFsdHVhLkxpYnJhcnkuU2VyaWFsaXphYmxljQEkgQEcf2h0dHBzOi8vc2Ixc21uLW15LnNoYXJlcG9pbnQuY29tL3BlcnNvbmFsL3RvbWFzX3ZlcnN0YWRfc21uX25vL0RvY3VtZW50cy9Eb2N1bWVudHMvS3Jpc3RpYW5zdW5kL0J1c2luZXNzIGNhc2UgS3Jpc3RpYW5zdW5kLnhsc3iUAQgFkQJFDZkCR5gBBKACpAKcARSoAqwCsAK0ArgCvALAAsQCyALMAqABmActBCgEEgQQAQAAAAAAAAAAAAAAAQAAAQwSBBACAAAAAAAAAAAAAAAJAAAJDdACLQQoBBIEEAEAAAAAAAAAAAAAAAAAAAAMEgQQAgAAAAAAAAAAAAAACQAACQ3UAi0EKAQSBBABAAAAAAAAAAAAAAAAAAAADBIEEAIAAAAAAAAAAAAAAAcAAAcN2AItBCgEEgQQAQAAAAAAAAAAAAAAAQAAAQwSBBACAAAAAAAAAAAAAAAFAAAFDdwCLQQoBBIEEAEAAAAAAAAAAAAAAAEAAAEMEgQQAgAAAAAAAAAAAAAAAgAAAg3gAi0EKAQSBBABAAAAAAAAAAAAAAAAAAAADBIEEAIAAAAAAAAAAAAAAAYAAAYN5AItBCgEEgQQAQAAAAAAAAAAAAAAAQAAAQwSBBACAAAAAAAAAAAAAAAIAAAIDegCLQQoBBIEEAEAAAAAAAAAAAAAAAEAAAEMEgQQAgAAAAAAAAAAAAAABwAABw3sAi0EKAQSBBABAAAAAAAAAAAAAAAAAAAADBIEEAIAAAAAAAAAAAAAAAMAAAMN8AItBCgEEgQQAQAAAAAAAAAAAAAAAQAAAQwSBBACAAAAAAAAAAAAAAAGAAAGDfQCLQQoBBIEEAEAAAAAAAAAAAAAAAEAAAEMEgQQAgAAAAAAAAAAAAAAAwAAAw34Ai0EKAQSBBABAAAAAAAAAAAAAAAAAAAADBIEEAIAAAAAAAAAAAAAAAUAAAUN/AItBCgEEgQQAQAAAAAAAAAAAAAAAAAAAAwSBBACAAAAAAAAAAAAAAAEAAAEDYADLQQoBBIEEAEAAAAAAAAAAAAAAAEAAAEMEgQQAgAAAAAAAAAAAAAABAAABA2EAy0EKAQSBBABAAAAAAAAAAAAAAAAAAAADBIEEAIAAAAAAAAAAAAAAAAAAAANiAMtBCgEEgQQAQAAAAAAAAAAAAAAAAAAAAwSBBACAAAAAAAAAAAAAAACAAACDYwDLQQoBBIEEAEAAAAAAAAAAAAAAAEAAAEMEgQQAgAAAAAAAAAAAAAAAQAAAQ2QAy0EKAQSBBABAAAAAAAAAAAAAAAAAAAADBIEEAIAAAAAAAAAAAAAAAgAAAgNlAMtBCgEEgQQAQAAAAAAAAAAAAAAAQAAAQwSBBACAAAAAAAAAAAAAAAAAAAADZgDLQQoBBIEEAEAAAAAAAAAAAAAAAAAAAAMEgQQAgAAAAAAAAAAAAAAAQAAAQ2cA6QBBg38ARWgA6gBBg38ARWgA6wBBg38ARWgA7ABBg38ARWgA7QBBg38ARWgA7gBBg38ARWgA7wBBg38ARWgA8ABBg38ARWgA8QBBg38ARWgA8gBBg38ARWgA8wBBg38ARWgA9ABBg38ARWgA9QBBg38ARWgA9gBBg38ARWgA9wBBg38ARWgA+ABBg38ARWgA+QBBg38ARWkA+gBBg38ARWgA+wBBg38ARWoA/ABBg38ARWgA/QBGgQSBBA62KVuLGDsSrk/Um5w8UQ1DAJDMhkB+AEaBBIEEHRVd/ay0EhEtape60KRERsMAkMzGQH8AQIEAIACBQQDBawDhAIFBAMFsAOIAgUEAwW0A4wCBQQDBbgDlgI3QWx0dWEuRGF0YS5QcmltaXRpdmVzLkNvbnN0cmFpbmVkQ29sdW1uU3BhbiwgQWx0dWEuRGF0YZECRQUDBbwDAJ4CNEFsdHVhLkRhdGEuUHJpbWl0aXZlcy5Db25zdHJhaW5lZFJvd1NwYW4sIEFsdHVhLkRhdGGZAkcFAwXAAwCgAhkEEgQQAQAAAAAAAAAAAAAAAAAAAAwBRhkBpAIZBBIEEAEAAAAAAAAAAAAAAAEAAAEMAUcZAagCGgQSBBACAAAAAAAAAAAAAAAAAAAADAIxOBkBrAIaBBIEEAIAAAAAAAAAAAAAAAEAAAEMAjE5GQGwAhoEEgQQAgAAAAAAAAAAAAAAAgAAAgwCMjAZAbQCGgQSBBACAAAAAAAAAAAAAAADAAADDAIyMRkBuAIaBBIEEAIAAAAAAAAAAAAAAAQAAAQMAjIyGQG8AhoEEgQQAgAAAAAAAAAAAAAABQAABQwCMjMZAcACGgQSBBACAAAAAAAAAAAAAAAGAAAGDAIyNBkBxAIaBBIEEAIAAAAAAAAAAAAAAAcAAAcMAjI1GQHIAhoEEgQQAgAAAAAAAAAAAAAACAAACAwCMjYZAcwCGgQSBBACAAAAAAAAAAAAAAAJAAAJDAIyNxkB0AIGDfwBFcQD1AIGDfwBFcgD2AIGDfwBFcwD3AIGDfwBFdAD4AIGDfwBFdQD5AIGDfwBFdgD6AIGDfwBFdwD7AIGDfwBFeAD8AIGDfwBFeQD9AIGDfwBFegD+AIGDfwBFewD/AIGDfwBFfADgAMGDfwBFfQDhAMGDfwBFfgDiAMGDfwBFfwDjAMGDfwBFYAEkAMGDfwBFYQElAMGDfwBFYgEmAMGDfwBFYwEnAMGDfwBFZAEoAMFBAMFlASkAwUEAwWYBKgDBQQDBZwErAMGAQGhBIkBsAMGAQGpBIkBtAMGAQGtBIkBuAMGAQGxBIkBvAMEAQIGCMADBAECEhzEAwUEAwW0BMgDBQQDBbgEzAMFBAMFvATQAwUEAwXABNQDBQQDBcQE2AMFBAMFyATcAwUEAwXMBOADBQQDBdAE5AMFBAMF1AToAwUEAwXYBOwDBQQDBdwE8AMFBAMF4AT0AwUEAwXkBPgDBQQDBegE/AMFBAMF7ASABAUEAwXwBIQEBQQDBfQEiAQFBAMF+ASMBAUEAwX8BJAEBQQDBYAFlAQCAQCYBAYBAYUFiQGcBAYBAYkFiQGmBC9BbHR1YS5EYXRhLkluZnJhc3RydWN0dXJlLlBhcmFncmFwaCwgQWx0dWEuRGF0YaEEiQEFDAMFjAWpBIkBBQwDBZAFrQSJAQUMAwWUBbEEiQEFDAMFmAW0BAYBAZ0FiQG4BAYBAaEFiQG8BAYBAaUFiQHABAYBAakFiQHEBAYBAa0FiQHIBAYBAbEFiQHMBAYBAbUFiQHQBAYBAbkFiQHUBAYBAb0FiQHYBAYBAcEFiQHcBAYBAcUFiQHgBAYBAckFiQHkBAYBAc0FiQHoBAYBAdEFiQHsBAYBAdUFiQHwBAYBAdkFiQH0BAYBAd0FiQH4BAYBAeEFiQH8BAYBAeUFiQGABQYBAekFiQGFBYkBBQwDBewFiQWJAQUMAwXwBYwFBgEB9QW+AZAFBgEB/QXAAZQFBgEBhQa+AZgFBgEBiQbAAZ0FiQEFDAMFjAahBYkBBQwDBZAGpQWJAQUMAwWUBqkFiQEFDAMFmAatBYkBBQwDBZwGsQWJAQUMAwWgBrUFiQEFDAMFpAa5BYkBBQwDBagGvQWJAQUMAwWsBsEFiQEFDAMFsAbFBYkBBQwDBbQGyQWJAQUMAwW4Bs0FiQEFDAMFvAbRBYkBBQwDBcAG1QWJAQUMAwXEBtkFiQEFDAMFyAbdBYkBBQwDBcwG4QWJAQUMAwXQBuUFiQEFDAMF1AbpBYkBBQwDBdgG7AUGAQHdBsAB8AUGAQHhBr4B+gUtQWx0dWEuRGF0YS5JbmZyYXN0cnVjdHVyZS5UZXh0UnVuLCBBbHR1YS5EYXRh9QW+ARUEEE3DuHJlIG9nIFJvbXNkYWwN5AaCBi9BbHR1YS5EYXRhLkluZnJhc3RydWN0dXJlLk51bWJlclJ1biwgQWx0dWEuRGF0Yf0FwAETBA4DAAAAAACAQEAd6QbbAQ3wBoUGvgEUBA9UcsO4bmRlbGFnIFPDuHIN5AaJBsABEwQOAwAAAAAAAC5AHfUG2wEN+AaMBgYBAf0GwAGQBgYBAYEHvgGUBgYBAYUHvgGYBgYBAYkHwAGcBgYBAY0HwAGgBgYBAZEHvgGkBgYBAZUHwAGoBgYBAZkHwAGsBgYBAZ0HvgGwBgYBAaEHwAG0BgYBAaUHwAG4BgYBAakHvgG8BgYBAa0HvgHABgYBAbEHwAHEBgYBAbUHvgHIBgYBAbkHvgHMBgYBAb0HwAHQBgYBAcEHvgHUBgYBAcUHwAHYBgYBAckHvgHdBsABEwQOAwAAAAAAADtAHc0H2wEN0AfhBr4BFAQPVHLDuG5kZWxhZyBOb3JkDdQH5AYSBAAcACQALAA0ADwATABUAF0A7gY9QWx0dWEuRGF0YS5OdW1iZXJGb3JtYXR0aW5nLkNvbXBvc2l0ZU51bWJlckZvcm1hdCwgQWx0dWEuRGF0YekG2wELHdgHJdwHNeAHPQDwBhIEABwAJAAsADQAPABMAFQAXQD1BtsBCx3kByXoBzXsBz0A+AYSBAAcACQALAA0ADwATABUAF0A/QbAARMEDgOmOQgFfE9MQB3xB9sBDfQHgQe+AQwEB8OYdnJpZ2UN9AeFB74BGAQTSG90ZWxsIC8gcmVzdGF1cmFudA30B4kHwAETBA4D9Yd/ptp7TUAd+QfbAQ30B40HwAETBA4DMtmS77OJR0Ad/QfbAQ30B5EHvgEMBAdFaWVuZG9tDfQHlQfAARMEDgN6IllYnuhAQB2BCNsBDfQHmQfAARMEDgOu0bdrpHJIQB2FCNsBDfQHnQe+ASMEHlRqZW5lc3RleXRpbmcgb2cga29tbXVuaWthc2pvbg30B6EHwAETBA4DchGOSSUkT0AdiQjbAQ30B6UHwAETBA4DL+CraywAUEAdjQjbAQ30B6kHvgEPBApWYXJlaGFuZGVsDfQHrQe+ARMEDkJ5Z2cgb2cgYW5sZWdnDfQHsQfAARMEDgPI2c6zHNZGQB2RCNsBDfQHtQe+ARkEFEpvcmRicnVrIG9nIHNrb2dicnVrDfQHuQe+AQ0ECEluZHVzdHJpDfQHvQfAARMEDgMtXLQTDJxHQB2VCNsBDfQHwQe+ARkEFFRyYW5zcG9ydCBvZyBsYWdyaW5nDfQHxQfAARMEDgPAourwNXFLQB2ZCNsBDfQHyQe+ARYEEUZpc2tlcmkgLyBoYXZicnVrDfQHzQfbAQsdnAgloAg1pAg9ANAHEgQAHAAkACwANAA8AEwAVABdANQHEgQAHAAkACwANAA8AEwAVABdANgHCQAADAMFqAgRANwHCQAADAMFrAgRAOAHCgQBLAwBLhQCa3LkBwkAAAwDBbAIEQDoBwkAAAwDBbQIEQDsBwoEASwMAS4UAmty8QfbAQsduAglvAg1wAg9APQHEgQAHAAkACwANAA8AEwAVABdAPkH2wELHcQIJcgINcwIPQD9B9sBCx3QCCXUCDXYCD0AgQjbAQsd3Agl4Ag15Ag9AIUI2wELHegIJewINfAIPQCJCNsBCx30CCX4CDX8CD0AjQjbAQsdgAklhAk1iAk9AJEI2wELHYwJJZAJNZQJPQCVCNsBCx2YCSWcCTWgCT0AmQjbAQsdpAklqAk1rAk9AJwICQAADAMFsAkRAKAICQAADAMFtAkRAKQICgQBLAwBLhQCa3KoCAYBAbkJrwKsCAoBAsEJsQK5Ca8CsAgGAQHJCa8CtAgKAQLNCbECyQmvArgICQAADAMF0AkRALwICQAADAMF1AkRAMAICgQBLAwBLhQCa3LECAkAAAwDBdgJEQDICAkAAAwDBdwJEQDMCAoEASwMAS4UAmty0AgJAAAMAwXgCREA1AgJAAAMAwXkCREA2AgKBAEsDAEuFAJrctwICQAADAMF6AkRAOAICQAADAMF7AkRAOQICgQBLAwBLhQCa3LoCAkAAAwDBfAJEQDsCAkAAAwDBfQJEQDwCAoEASwMAS4UAmty9AgJAAAMAwX4CREA+AgJAAAMAwX8CREA/AgKBAEsDAEuFAJrcoAJCQAADAMFgAoRAIQJCQAADAMFhAoRAIgJCgQBLAwBLhQCa3KMCQkAAAwDBYgKEQCQCQkAAAwDBYwKEQCUCQoEASwMAS4UAmtymAkJAAAMAwWQChEAnAkJAAAMAwWUChEAoAkKBAEsDAEuFAJrcqQJCQAADAMFmAoRAKgJCQAADAMFnAoRAKwJCgQBLAwBLhQCa3KwCQYBAaEKrwK0CQoBAqUKsQKhCq8CvglAQWx0dWEuRGF0YS5OdW1iZXJGb3JtYXR0aW5nLk51bWJlckZvcm1hdFZhbHVlU2VnbWVudCwgQWx0dWEuRGF0YbkJrwIFBAMFqArGCT9BbHR1YS5EYXRhLk51bWJlckZvcm1hdHRpbmcuTnVtYmVyRm9ybWF0VGV4dFNlZ21lbnQsIEFsdHVhLkRhdGHBCbECBQQBLQkByQmvAgUEAwWsCs0JsQIFBAEtCQHQCQYBAbEKzQLUCQoBArkKsQKxCs0C2AkGAQG9Cs0C3AkKAQLBCrECvQrNAuAJBgEBxQrNAuQJCgECyQqxAsUKzQLoCQYBAc0KzQLsCQoBAtEKsQLNCs0C8AkGAQHVCs0C9AkKAQLZCrEC1QrNAvgJBgEB3QrNAvwJCgEC4QqxAt0KzQKACgYBAeUKzQKECgoBAukKsQLlCs0CiAoGAQHtCs0CjAoKAQLxCrEC7QrNApAKBgEB9QrNApQKCgEC+QqxAvUKzQKYCgYBAf0KzQKcCgoBAoELsQL9Cs0CoQqvAgUEAwWEC6UKsQIFBAEtCQGoCgYBAYkL4wKsCgYBAYkL4wK2CkJBbHR1YS5EYXRhLk51bWJlckZvcm1hdHRpbmcuTnVtYmVyRm9ybWF0R2VuZXJhbFNlZ21lbnQsIEFsdHVhLkRhdGGxCs0CALkKsQIFBAEtCQG9Cs0CAMEKsQIFBAEtCQHFCs0CAMkKsQIFBAEtCQHNCs0CANEKsQIFBAEtCQHVCs0CANkKsQIFBAEtCQHdCs0CAOEKsQIFBAEtCQHlCs0CAOkKsQIFBAEtCQHtCs0CAPEKsQIFBAEtCQH1Cs0CAPkKsQIFBAEtCQH9Cs0CAIELsQIFBAEtCQGECwYBAYkL4wKOCzlBbHR1YS5EYXRhLk51bWJlckZvcm1hdHRpbmcuTnVtYmVyUGxhY2Vob2xkZXIsIEFsdHVhLkRhdGGJC+MCBQIwAAAA"/>
  <p:tag name="GRUNT-RENDERHASH" val="0ff0bcabafae966a0fa566a8339a5cf3-svg"/>
  <p:tag name="GRUNT-X-SHAPEBOUNDS" val="ASIBBAAAAAAA/H1AAAAA4O5+bUAAAAAg3xpoQAAAAMAexmBAAA=="/>
  <p:tag name="GRUNT-X-PAGEOBJECT" val="AQUCmDAKOEFsdHVhLk9hay5Db3JlLkRvY3VtZW50TW9kZWwuQ2hhcnRPYmplY3QsIEFsdHVhLk9hay5Db3JlBQI1BBIEEEctpeNohqNOqvk1I2tbCu0MEgQQx+ImEwOEvEGBCo2qaMXKNRUNBCUUNRg9HFUgZSQSUEFsdHVhLk9hay5Db3JlLkRvY3VtZW50TW9kZWwuVGVtcGxhdGluZy5DdXN0b21Qb3NpdGlvbkRlZmluaXRpb24sIEFsdHVhLk9hay5Db3JlDQQkBCIBBAAAAAAAAH5AQNape4gYb0AAAAAg3wpoQMjYHP6j8ldAFBMVKB0sNTA4AEU1DlU8XUBkAgVEGAQEAgVIHAIFTCALBVAMBW5iLU5PFVQkEAEBCQERARkBIQEpATEBOQAoFgQSBBAAAAAAAAAAAAAAAAAAAAAACAEsFgQSBBAAAAAAAAAAAAAAAAAAAAAACAEwADpFQWx0dWEuT2FrLkNvcmUuQ2hhcnQuU3RhY2tlZEJhcldpdGhMaW5lUGxvdERlZmluaXRpb24sIEFsdHVhLk9hay5Db3JlNQ4yBBIEEMXxiFzIAKBCkqorIZ8j/+8cAgVYJVw1YDwCBWRJAW1opQFtHKkBALUBdR69AXw8BQWAAQ0AQAQBAAkARBQBCYQBiAGMAZABlAGYAZwBoAGkAUgCAQBMAFAKBAEsDAEgFAJrclQJBAVuYi1OTwgBWAQBAagBXA0AAQgBFAMFrAEcACUAYCYEIgEEAAAAAAAAEEAAAAAAAAAQQAAAAAAAABBAAAAAAAAAEEAIBGQCAQBoCwMAAAAAAABMQAggckVBbHR1YS5PYWsuQ29yZS5QbG90dGluZy5BdXRvbWF0aWNDYXRlZ29yeUF4aXNTZXR0aW5ncywgQWx0dWEuT2FrLkNvcmVtHBMBAQ2wARAAGQEwAD20AUW4AUgBej1BbHR1YS5PYWsuQ29yZS5UaGVtaW5nLlBhZ2VDb2xvclNjaGVtZVBvaW50ZXIsIEFsdHVhLk9hay5Db3JldR4AfEo1vAE9wAFFxAFVyAFdzAF10AGNAdQBnQHYAaUB3AGtAeABzQHkAdUB6AHdAewB5QHwAe0B9AH1AfgB/QH8AYUCgAKNAoQClQKIAoABCIwCkAKUApgChAFIBBIEEFys0V4pUalWstY4UMl3wVwMEgQQrgnrFGw+FUaR+bfi+6i8pxWcAhwSBBACAAAAAAAAAAAAAAABAAABJAAtoAI1pQJKiAFIBBIEECvUP8zDQMlaiAqgu8NeRTIMEgQQrgnrFGw+FUaR+bfi+6i8pxWsAhwSBBACAAAAAAAAAAAAAAACAAACJAAtsAI1pQJKjAFIBBIEEKqkKxvzHnpZmprmbcF3DAAMEgQQrgnrFGw+FUaR+bfi+6i8pxW0AhwSBBACAAAAAAAAAAAAAAADAAADJAAtuAI1pQJKkAFIBBIEEGjXtQp8HQ1fl+pAAk6JF+kMEgQQrgnrFGw+FUaR+bfi+6i8pxW8AhwSBBACAAAAAAAAAAAAAAAEAAAEJAAtwAI1pQJKlAFIBBIEEMm7m/xPk2JelBBOU2p/wHQMEgQQrgnrFGw+FUaR+bfi+6i8pxXEAhwSBBACAAAAAAAAAAAAAAAFAAAFJAAtyAI1pQJKmAFIBBIEEHhprqvWQr1UpUkd88dgGZ8MEgQQrgnrFGw+FUaR+bfi+6i8pxXMAhwSBBACAAAAAAAAAAAAAAAGAAAGJAAt0AI1pQJKnAFIBBIEEFNAEGk6zF9Zj615kzfN6zcMEgQQrgnrFGw+FUaR+bfi+6i8pxXUAhwSBBACAAAAAAAAAAAAAAAHAAAHJAAt2AI1pQJKoAFIBBIEEKLjoAQXvdxQm8UXFL+RpJIMEgQQrgnrFGw+FUaR+bfi+6i8pxXcAhwSBBACAAAAAAAAAAAAAAAIAAAIJAAt4AI1pQJKpAFIBBIEEF3nq3PTcsFWiCpAMXSTw0wMEgQQrgnrFGw+FUaR+bfi+6i8pxXkAhwSBBACAAAAAAAAAAAAAAAJAAAJJAAt6AI1pQJKqAFCAQAYAyXsAikAMQBAAEgCVfACXfQCZBIEEK4J6xRsPhVGkfm34vuovKdt+AJ1/AKNAYADkQEBnQGEA6UBiAO1AYwDrAECAQCwAQIBALQBBgWRA2UIBLgBBgWZA2UIBLwBBQQDBZwDwAEFBAMFoAPEAQUEAwWkA8gBBQQDBagDzAEFBAMFnAPQAQUEAwWcA9QBBQQDBawD2AEFBAMFsAPcAQUEAwW0A+ABBQQDBbgD5AEFBAMFvAPoAQUEAwXAA+wBBQQDBcQD8AEFBAMFyAP0AQUEAwXMA/gBBQQDBdAD/AEFBAMF1AOAAgUEAwXYA4QCBQQDBdwDiAIFBAMF4AOMAisEEgQQ6EQTZ0LG/FqGmZcJznnGTAwSBBABAAAAAAAAAAAAAAABAAABHAEBkAIrBBIEENKZ4w7GxNteu5Dm3ChZhzMMEgQQOtilbixg7Eq5P1JucPFENRwBAZQCKwQSBBAAFSrvsLQWVoscJYS2ZyUQDBIEEHRVd/ay0EhEtape60KRERscAQGYAioEEgQQ6hHnTY/If0KLcz0d4XiiIAwSBBCwQOTz8YMiRYO2rzqPy/i8HACcAgUF5AMIAaACBAUACAGqAj5BbHR1YS5PYWsuQ29yZS5DaGFydC5EZWZhdWx0UGxvdFNlcmllc1NldHRpbmdzLCBBbHR1YS5PYWsuQ29yZaUCSgCsAgUF5AMIAbACBAUACAG0AgUF5AMIAbgCBAUACAG8AgUF5AMIAcACBAUACAHEAgUF5AMIAcgCBAUACAHMAgUF5AMIAdACBAUACAHUAgUF5AMIAdgCBAUACAHcAgUF5AMIAeACBAUACAHkAgUF5AMIAegCBAUACAHsAgsDAAAAAAAAAAAIAfACCwMAAAAAAAAAAAgB9AILAwAAAAAAAAAACAH4AhUF6AMN7AMV8AMd9AMl+AMt/AM1gAT8AgcNhAQViQRlgAMLAwAAAAAAAAAACASEAwYFjQRlCASIAwYFjQRlCASMAwUEAwWQBJYDM0FsdHVhLk9hay5Db3JlLlRoZW1pbmcuQ29sb3JQb2ludGVyLCBBbHR1YS5PYWsuQ29yZZEDZVBQUP+ZA2VQUFD/nAMCAQCgAw4BBpQEmAScBKAEpASoBKQDBAEBrASoAwIBAKwDAgEAsAMCAQC0AxABB7AEtAS4BLwEwATEBMgEuAMCAQC8Aw4BBswE0ATUBNgE3ATgBMADFAEJ5AToBOwE8AT0BPgE/ASABYQFxAMCAQDIAwQBAYgFzAMKAQSMBZAFlAWYBdADAgEA1AMCAQDYAwIBANwDAgEA4AMCAQDkAwUEAwWcBegDBwQDBAEACATsAwUEAS4IBPADBAABCAT0AwQAAAgE+AMEBAAIBPwDBAQACASABAQAAAgEhAQFBAMFoAWJBGU+PuX/jQRlUFBQ/5AEAgEAlAQOBaUFqgELAAAAAAAAAACYBA4FrQWsAQsAAAAAAAAAAJwEDgW1Ba4BCwAAAAAAAOA/oAQOBb0FsAELAAAAAAAA4D+kBA4FxQWyAQsAAAAAAADgP6gEDgXNBbQBCwAAAAAAAPg/rAQIBdUFsgEN2AWwBAoF3QW4AQ3lBboBtAQKBe0FqgEN8QW9AbgECgX5Ba4BDf0FvQG8BAoFgQawAQ2FBr0BwAQJBYkGwwENkQZlxAQKBZUGxgENnQa9AcgECQWhBsYBDaUGZcwEBwWpBssBCQDQBAcFsQbNAQkB1AQHBbkGzwEJAdgEBwXBBtEBCQHcBAcFyQbTAQkB4AQHBdEG1QEJAeQECgXZBtcBDeEG2QHoBAoF6QbbAQ3xBt0B7AQKBfkG3wENgQfhAfAECgWJB98BDY0H5AH0BAoFlQfPAQ2NB+QB+AQKBZkHywENnQfoAfwECgWlB9EBDZ0H6AGABQoFqQfTAQ2tB+wBhAUKBdEG1QENtQfuAYgFCgW9B/ABDcUH8gGMBQoFzQfLAQ3RB/UBkAUKBdkH2wEN3Qf1AZQFCgXhB9EBDeUH9QGYBQoF6QfXAQ3tB/UBnAUCAQCgBQQBAgEEqgVTQWx0dWEuT2FrLkNvcmUuTW9kaWZpY2F0aW9uLlN0eWxpbmcuQWxsVmFsdWVBeGlzQ3VzdG9taXphdGlvblRhcmdldCwgQWx0dWEuT2FrLkNvcmWlBaoBALIFWUFsdHVhLk9hay5Db3JlLk1vZGlmaWNhdGlvbi5TdHlsaW5nLlZhbHVlQXhpc0dyaWRsaW5lc0N1c3RvbWl6YXRpb25UYXJnZXQsIEFsdHVhLk9hay5Db3JlrQWsAQC6BVNBbHR1YS5PYWsuQ29yZS5Nb2RpZmljYXRpb24uU3R5bGluZy5DYXRlZ29yeUF4aXNDdXN0b21pemF0aW9uVGFyZ2V0LCBBbHR1YS5PYWsuQ29yZbUFrgEAwgVQQWx0dWEuT2FrLkNvcmUuTW9kaWZpY2F0aW9uLlN0eWxpbmcuT3JpZ29MaW5lQ3VzdG9taXphdGlvblRhcmdldCwgQWx0dWEuT2FrLkNvcmW9BbABAMoFXUFsdHVhLk9hay5Db3JlLk1vZGlmaWNhdGlvbi5TdHlsaW5nLkFsbENvbm5lY3RvcnNBdXhpbGlhcnlDdXN0b21pemF0aW9uVGFyZ2V0LCBBbHR1YS5PYWsuQ29yZcUFsgEA0gVZQWx0dWEuT2FrLkNvcmUuTW9kaWZpY2F0aW9uLlN0eWxpbmcuU2VyaWVzV2l0aFBsb3RLaW5kQ3VzdG9taXphdGlvblRhcmdldCwgQWx0dWEuT2FrLkNvcmXNBbQBAwXwB9UFsgEA2AUFDAMF9AfiBVZBbHR1YS5PYWsuQ29yZS5Nb2RpZmljYXRpb24uU3R5bGluZy5BbGxTZXJpZXNNYXJrZXJDdXN0b21pemF0aW9uVGFyZ2V0LCBBbHR1YS5PYWsuQ29yZd0FuAEA6gU6QWx0dWEuT2FrLkNvcmUuVGhlbWluZy5CaW5kaW5nQ29sb3JQb2ludGVyLCBBbHR1YS5PYWsuQ29yZeUFugEFBfkH/wHtBaoBAPYFN0FsdHVhLk9hay5Db3JlLlRoZW1pbmcuUGFnZUNvbG9yUG9pbnRlciwgQWx0dWEuT2FrLkNvcmXxBb0BBAAACAD5Ba4BAP0FvQEEAAAIAIEGsAEAhQa9AQQAAAgAjgZTQWx0dWEuT2FrLkNvcmUuTW9kaWZpY2F0aW9uLlN0eWxpbmcuQWxsR3JpZGxpbmVzQ3VzdG9taXphdGlvblRhcmdldCwgQWx0dWEuT2FrLkNvcmWJBsMBAJEGZYCAgP+aBlBBbHR1YS5PYWsuQ29yZS5Nb2RpZmljYXRpb24uU3R5bGluZy5Db21wb3NpdGVDdXN0b21pemF0aW9uVGFyZ2V0LCBBbHR1YS5PYWsuQ29yZZUGxgEFBAMFgAidBr0BBAAFCAChBsYBBQQDBYQIpQZlAADA/64GWEFsdHVhLk9hay5Db3JlLk1vZGlmaWNhdGlvbi5TdHlsaW5nLkFsbFZhbHVlQXhpc0xhYmVsQ3VzdG9taXphdGlvblRhcmdldCwgQWx0dWEuT2FrLkNvcmWpBssBALYGZkFsdHVhLk9hay5Db3JlLk1vZGlmaWNhdGlvbi5TdHlsaW5nLlN0YWNrZWRCYXJBdXRvbWF0aWNTZWdtZW50TGFiZWxDdXN0b21pemF0aW9uVGFyZ2V0LCBBbHR1YS5PYWsuQ29yZbEGzQEAvgZVQWx0dWEuT2FrLkNvcmUuTW9kaWZpY2F0aW9uLlN0eWxpbmcuQWxsVG90YWxMYWJlbHNDdXN0b21pemF0aW9uVGFyZ2V0LCBBbHR1YS5PYWsuQ29yZbkGzwEAxgZXQWx0dWEuT2FrLkNvcmUuTW9kaWZpY2F0aW9uLlN0eWxpbmcuQWxsQ2F0ZWdvcnlMYWJlbEN1c3RvbWl6YXRpb25UYXJnZXQsIEFsdHVhLk9hay5Db3JlwQbRAQDOBlhBbHR1YS5PYWsuQ29yZS5Nb2RpZmljYXRpb24uU3R5bGluZy5BbGxBdXhpbGlhcnlMYWJlbEN1c3RvbWl6YXRpb25UYXJnZXQsIEFsdHVhLk9hay5Db3JlyQbTAQDWBlhBbHR1YS5PYWsuQ29yZS5Nb2RpZmljYXRpb24uU3R5bGluZy5TZXJpZXNMYWJlbE9mVHlwZUN1c3RvbWl6YXRpb25UYXJnZXQsIEFsdHVhLk9hay5Db3Jl0QbVAQIAAt4GWEFsdHVhLk9hay5Db3JlLk1vZGlmaWNhdGlvbi5TdHlsaW5nLkNhdGVnb3J5QXhpc1RpdGxlQ3VzdG9taXphdGlvblRhcmdldCwgQWx0dWEuT2FrLkNvcmXZBtcBAOYGRkFsdHVhLk9hay5Db3JlLlBsb3R0aW5nLkF4aXNUaXRsZUxhYmVsUGxhY2VtZW50T3V0c2lkZSwgQWx0dWEuT2FrLkNvcmXhBtkBAgAB7gZdQWx0dWEuT2FrLkNvcmUuTW9kaWZpY2F0aW9uLlN0eWxpbmcuQWxsVmFsdWVBeGlzVGl0bGVMYWJlbEN1c3RvbWl6YXRpb25UYXJnZXQsIEFsdHVhLk9hay5Db3Jl6QbbAQD2BkJBbHR1YS5PYWsuQ29yZS5QbG90dGluZy5BeGlzVGl0bGVMYWJlbFBsYWNlbWVudEZhciwgQWx0dWEuT2FrLkNvcmXxBt0BAgAA/gZfQWx0dWEuT2FrLkNvcmUuTW9kaWZpY2F0aW9uLlN0eWxpbmcuU2VyaWVzTGFiZWxzV2l0aFBsb3RLaW5kQ3VzdG9taXphdGlvblRhcmdldCwgQWx0dWEuT2FrLkNvcmX5Bt8BBQWICAgAhgc8QWx0dWEuT2FrLkNvcmUuUGxvdHRpbmcuTGFiZWxQbGFjZW1lbnRJbnNpZGUsIEFsdHVhLk9hay5Db3JlgQfhAQQAAQgBiQffAQUFjAgIAJIHPUFsdHVhLk9hay5Db3JlLlBsb3R0aW5nLkxhYmVsUGxhY2VtZW50T3V0c2lkZSwgQWx0dWEuT2FrLkNvcmWNB+QBAJUHzwEAmQfLAQCiB0FBbHR1YS5PYWsuQ29yZS5QbG90dGluZy5BeGlzTGFiZWxQbGFjZW1lbnRPdXRzaWRlLCBBbHR1YS5PYWsuQ29yZZ0H6AECAQClB9EBAKkH0wEAsgdGQWx0dWEuT2FrLkNvcmUuUGxvdHRpbmcuQXV4aWxpYXJ5TGFiZWxQbGFjZW1lbnREZWZhdWx0LCBBbHR1YS5PYWsuQ29yZa0H7AEAugdDQWx0dWEuT2FrLkNvcmUuUGxvdHRpbmcuTGFiZWxQbGFjZW1lbnRTZXJpZXNPdXRzaWRlLCBBbHR1YS5PYWsuQ29yZbUH7gECAADCB1BBbHR1YS5PYWsuQ29yZS5Nb2RpZmljYXRpb24uU3R5bGluZy5BbGxMYWJlbHNDdXN0b21pemF0aW9uVGFyZ2V0LCBBbHR1YS5PYWsuQ29yZb0H8AEAygdCQWx0dWEuT2FrLkNvcmUuU3ludGF4U3RydWN0dXJlLkFjdHVhbEZvbnRTaXplVmFsdWUsIEFsdHVhLk9hay5Db3JlxQfyAQkDAAAAAAAAIkDNB8sBANYHQ0FsdHVhLk9hay5Db3JlLlN5bnRheFN0cnVjdHVyZS5BY3R1YWxGb250Q29sb3JWYWx1ZSwgQWx0dWEuT2FrLkNvcmXRB/UBBQWRCL0B2QfbAQDdB/UBBQWVCL0B4QfRAQDlB/UBBQWZCL0B6QfXAQDtB/UBBQWdCL0B8AcBBfQHCgECAACAQAAAQED+B0hBbHR1YS5PYWsuQ29yZS5TeW50YXhTdHJ1Y3R1cmUuUGxvdFNlcmllc0JpbmRpbmdTdHJhdGVneSwgQWx0dWEuT2FrLkNvcmX5B/8BAIAIBgEBoQiJAoQIBgEBqQiJAogIAgABjAgBBZEIvQEEAAAIAJUIvQEEAAAIAJkIvQEEAAAIAJ0IvQEEAAAIAKYITUFsdHVhLk9hay5Db3JlLk1vZGlmaWNhdGlvbi5TdHlsaW5nLlNlcmllc0N1c3RvbWl6YXRpb25UYXJnZXQsIEFsdHVhLk9hay5Db3JloQiJAhQEEgQQXKzRXilRqVay1jhQyXfBXKkIiQIUBBIEEFys0V4pUalWstY4UMl3wVw="/>
  <p:tag name="GRUNT-SYNC" val="c08bd99238c149e09207bb3f6613f2e7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7goKN0FsdHVhLkRhdGEuRGF0YVNlcnZpY2VzLkVtYmVkZGVkRGF0YVNlcnZpY2UsIEFsdHVhLkRhdGEFAhkEEgQQNgzDta2ixUWvtrQnVvZMMw0MJREFDAYFGAgSEAcWQUFsdHVhLkRhdGEuRGF0YVNlcnZpY2VzLkVtYmVkZGVkRGF0YVNlcnZpY2VFZGl0b3JEYXRhLCBBbHR1YS5EYXRhEQUEBRwNIBgGBSQNKBUsHDwdBBIEENNz8cQb9wFOoDLwDWItJDkLAAAAAAAAHEAdBBIEEB/rjDimIctLiTIXQgTfWDQLAAAAAAAgYkAgWh0EEgQQBbe507cO9EmRZBhNRm5FrAsAAAAAAAAyQB0EEgQQhB+R4huFNUGwuFZrPUlJDwsAAAAAAAAyQB0EEgQQ+SxZ/v3fb0W5/mfTI9KrIwsAAAAAAAAyQCQCMDQoAjg8LLQBLAQoBBIEENqNKxB7T5pMmUYr804v+BwMEgQQX5eQl8Rau0KbEDAGcU7FWQ1ALAQoBBIEEHWemJFcQytHgI2gyx3vlOMMEgQQX5eQl8Rau0KbEDAGcU7FWQ1ELAQoBBIEENqNKxB7T5pMmUYr804v+BwMEgQQ6NwaFbIJ/EeQekLL/HFgWw1ILAQoBBIEEHWemJFcQytHgI2gyx3vlOMMEgQQ6NwaFbIJ/EeQekLL/HFgWw1MMBoEEgQQ2o0rEHtPmkyZRivzTi/4HAwCQzEZATQaBBIEEHWemJFcQytHgI2gyx3vlOMMAkMzGQE4GgQSBBBfl5CXxFq7QpsQMAZxTsVZDAJSMRkBPBoEEgQQ6NwaFbIJ/EeQekLL/HFgWwwCUjIZAUAEDVAVVEQEDVAVWEgEDVAVXEwEDVAVYFACBABUBAQCBWRYBAQCBWhcBAQCBWxgBAQCBXBkAgEAaAQBAXUebAIBAHAEAQF9HnovQWx0dWEuRGF0YS5JbmZyYXN0cnVjdHVyZS5QYXJhZ3JhcGgsIEFsdHVhLkRhdGF1HgUMAwWAAX0eBQwDBYQBgAEFAQGJASOEAQUBAZEBI44BL0FsdHVhLkRhdGEuSW5mcmFzdHJ1Y3R1cmUuTnVtYmVyUnVuLCBBbHR1YS5EYXRhiQEjEgQNAwAAAAAAoJ9AHZUBJg2cAZEBIxIEDQMAAAAAAABJQB2hASYNpAGaAT1BbHR1YS5EYXRhLk51bWJlckZvcm1hdHRpbmcuQ29tcG9zaXRlTnVtYmVyRm9ybWF0LCBBbHR1YS5EYXRhlQEmCx2oASWsATWwAT0AnAESBAAcACQALAA0ADwATABUAF0AoQEmCx20ASW4ATW8AT0ApAESBAAcACQALAA0ADwATABUAF0AqAEJAAAMAwXAAREArAEJAAAMAwXEAREAsAEKBAEsDAEuFAJrcrQBCQAADAMFyAERALgBCQAADAMFzAERALwBCgQBLAwBLhQCa3LAAQUBAdEBNcQBCAEC2QE30QE1yAEFAQHhATXMAQgBAuUBN+EBNdYBQEFsdHVhLkRhdGEuTnVtYmVyRm9ybWF0dGluZy5OdW1iZXJGb3JtYXRWYWx1ZVNlZ21lbnQsIEFsdHVhLkRhdGHRATUFBAMF6AHeAT9BbHR1YS5EYXRhLk51bWJlckZvcm1hdHRpbmcuTnVtYmVyRm9ybWF0VGV4dFNlZ21lbnQsIEFsdHVhLkRhdGHZATcFBAEtCQHhATUFBAMF7AHlATcFBAEtCQHoAQUBAfEBPewBBQEB+QE99gE5QWx0dWEuRGF0YS5OdW1iZXJGb3JtYXR0aW5nLk51bWJlclBsYWNlaG9sZGVyLCBBbHR1YS5EYXRh8QE9BQIwAAAA+QE9BQIwAAAA"/>
  <p:tag name="GRUNT-RENDERHASH" val="81413c9b9fcc56d39729fd8c9a30c9f9-svg"/>
  <p:tag name="GRUNT-X-SHAPEBOUNDS" val="ASIBBAAAAGBw20pAAAAAwGb+cEAAAAAA1jJtQAAAAMCiR2FAAA=="/>
  <p:tag name="GRUNT-X-PAGEOBJECT" val="AQUCoTEKOEFsdHVhLk9hay5Db3JlLkRvY3VtZW50TW9kZWwuQ2hhcnRPYmplY3QsIEFsdHVhLk9hay5Db3JlBQI1BBIEEEa5xLqydGZDtc3mlZFRGV8MEgQQNgzDta2ixUWvtrQnVvZMMxUNBCUUNRg9HFUgZSQSUEFsdHVhLk9hay5Db3JlLkRvY3VtZW50TW9kZWwuVGVtcGxhdGluZy5DdXN0b21Qb3NpdGlvbkRlZmluaXRpb24sIEFsdHVhLk9hay5Db3JlDQQkBCIBBIBI729w+0pA+bP5L80EckBmyecE1iJtQFyVfy8S3FlAFBMVKB0sNTA4AEU1DlU8XUBkAgVEGAQEAgVIHAIFTCALBVAMBW5iLU5PFVQkEAEBCQERARkBIQEpATEBOQAoFgQSBBAAAAAAAAAAAAAAAAAAAAAACAEsFgQSBBAAAAAAAAAAAAAAAAAAAAAACAEwADpHQWx0dWEuT2FrLkNvcmUuQ2hhcnQuQ2x1c3RlcmVkQmFyV2l0aExpbmVQbG90RGVmaW5pdGlvbiwgQWx0dWEuT2FrLkNvcmU1DjUEEgQQHM9ji+kgm0mxHzneS02F9h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W9AH4AfwBgAKEAogCjAKQApQCmAKcAogBSQQSBBA5rqFLY+crUa/3h5kmPemoDBIEEGCAXOjwilpLk0ti9DHnmOEVoAIcEgQQ6NwaFbIJ/EeQekLL/HFgWyQBAS2kAjWpAkuMAUkEEgQQ3hL/oLfjmVGNga5GutPNVQwSBBBggFzo8IpaS5NLYvQx55jhFbACHBIEEPksWf79329Fuf5n0yPSqyMkAQEttAI1qQJLkAFCAQAYAyW4AikAMQBAAEgCVbwCXcACZBIEEGCAXOjwilpLk0ti9DHnmOFtxAJ1yAKNAcwCkQEBnQHQAqUB1AK1AdgClAECAQCYAQUEAwXcApwBBQQDBeACoAEFBAMF5AKkAQUEAwXoAqgBBQQDBdwCrAEFBAMF3AKwAQUEAwXsArQBBQQDBfACuAEFBAMF9AK8AQUEAwX4AsABBQQDBfwCxAEFBAMFgAPIAQUEAwWEA8wBBQQDBYgD0AEFBAMFjAPUAQUEAwWQA9gBBQQDBZQD3AEFBAMFmAPgAQUEAwWcA+QBBQQDBaAD6AECAQDsAQYFpQNqCATwAQYFrQNqCAT0ASsEEgQQtnl8ctBB8lCqeXW5srpkmwwSBBAf64w4piHLS4kyF0IE31g0HAEB+AErBBIEEK3xkaMagnVfuHWmb/AH5o0MEgQQdZ6YkVxDK0eAjaDLHe+U4xwBAfwBKwQSBBAUgTfa/GNkVrpdQgis1b/wDBIEEDN2LlbKrM9DuJ/41/dD8iIcAQGAAisEEgQQd2MwujbKQFSz3yjnTKcylwwSBBBZn2HmWJE/SIQqnrz3HmVGHAEBhAIrBBIEED1DZfZn2ddWnpP2n9ATgkIMEgQQ5PInsc7xekOZNXqmuIfDUhwBAYgCKwQSBBCD+4py9nD8QKBTKFF6ohauDBIEEJvzN8z2MBhPpn+BGWPNv6ocAQGMAisEEgQQUp3Hd2NQf0aKrpw65Q0tWAwSBBC/BNzlG01aS63JT5V8CUTVHAEBkAIrBBIEEJcFcGzx2fpNmxxZeq8thPUMEgQQHQWFMRz7TkSitZTvRM8LzhwBAZQCKwQSBBBrSd+3cy9oT6p3sNZBUA3rDBIEEPvRt2941KNPtNbA4wnNe0kcAQGYAisEEgQQ4ikfsnaK4EuJU/fmpsixuQwSBBDoAmmIksVpR4Wcmdp5Uj9+HAEBnAIrBBIEEEAq3kmQwJxKnB8PlG7IsdMMEgQQ2l47+0cTPky0l42NcMy3CBwBAaACBQWwAwgBpAIEBQAIAa4CPkFsdHVhLk9hay5Db3JlLkNoYXJ0LkRlZmF1bHRQbG90U2VyaWVzU2V0dGluZ3MsIEFsdHVhLk9hay5Db3JlqQJLALACBQW0AwgBtAIEBQAIAbgCCwMAAAAAAAAAAAgCvAILAwAAAAAAAAAACAHAAgsDAAAAAAAAAAAIAcQCFQW4Aw28AxXAAx3EAyXIAy3MAzXQA8gCBw3UAxXZA2rMAgsDAAAAAAAAAAAIBNACBgXdA2oIBNQCBgXdA2oIBNgCBQQDBeAD3AICAQDgAg4BBuQD6APsA/AD9AP4A+QCBAEB/APoAgIBAOwCAgEA8AICAQD0AhIBCIAEhASIBIwEkASUBJgEnAT4AgIBAPwCDgEGoASkBKgErASwBLQEgAMQAQe4BLwEwATEBMgEzATQBIQDAgEAiAMEAQHUBIwDCgEE2ATcBOAE5ASQAwIBAJQDAgEAmAMCAQCcAwIBAKADAgEAqgMzQWx0dWEuT2FrLkNvcmUuVGhlbWluZy5Db2xvclBvaW50ZXIsIEFsdHVhLk9hay5Db3JlpQNqUFBQ/60DalBQUP+wAwUEAwXoBLQDBQQDBewEuAMHBAMEAQAIBLwDBQQBLggEwAMEAAEIBMQDBAAACATIAwQEAAgEzAMEBAAIBNADBAAACATUAwUEAwXwBNkDaj4+5f/dA2pQUFD/4AMCAQDkAw4F9QSeAQsAAAAAAAAAAOgDDgX9BKABCwAAAAAAAAAA7AMOBYUFogELAAAAAAAA4D/wAw4FjQWkAQsAAAAAAADgP/QDDgWVBaYBCwAAAAAAAOA/+AMOBZ0FqAELAAAAAAAA+D/8AwgFpQWmAQ2oBYAECgWtBawBDbUFrgGEBAoFvQWeAQ3BBbEBiAQKBckFogENzQWxAYwECgXRBaQBDdUFsQGQBAkF2QW3AQ3hBWqUBAoF5QW6AQ3tBbEBmAQKBfEFvQEN+QWxAZwECQX9Bb0BDYEGaqAEBwWFBsIBCQGkBAcFjQbEAQkAqAQHBZUGwgEJAawEBwWZBscBCQGwBAcFoQbJAQkBtAQHBakGywEJAbgECgWxBs0BDbkGzwG8BAoFwQbRAQ3JBtMBwAQKBdEG1QEN2QbXAcQECgXhBtUBDdkG1wHIBAoF5QbEAQ3pBtsBzAQKBfEGyQEN6QbbAdAECgX1BssBDfkG3wHUBAoFgQfhAQ2JB+MB2AQKBZEHxAENlQfmAdwECgWdB9EBDaEH5gHgBAoFpQfJAQ2pB+YB5AQKBa0HzQENsQfmAegEBgEBtQfuAewEBgEBvQfuAfAEBAECAQT6BFNBbHR1YS5PYWsuQ29yZS5Nb2RpZmljYXRpb24uU3R5bGluZy5BbGxWYWx1ZUF4aXNDdXN0b21pemF0aW9uVGFyZ2V0LCBBbHR1YS5PYWsuQ29yZfUEngEAggVZQWx0dWEuT2FrLkNvcmUuTW9kaWZpY2F0aW9uLlN0eWxpbmcuVmFsdWVBeGlzR3JpZGxpbmVzQ3VzdG9taXphdGlvblRhcmdldCwgQWx0dWEuT2FrLkNvcmX9BKABAIoFU0FsdHVhLk9hay5Db3JlLk1vZGlmaWNhdGlvbi5TdHlsaW5nLkNhdGVnb3J5QXhpc0N1c3RvbWl6YXRpb25UYXJnZXQsIEFsdHVhLk9hay5Db3JlhQWiAQCSBVBBbHR1YS5PYWsuQ29yZS5Nb2RpZmljYXRpb24uU3R5bGluZy5Pcmlnb0xpbmVDdXN0b21pemF0aW9uVGFyZ2V0LCBBbHR1YS5PYWsuQ29yZY0FpAEAmgVdQWx0dWEuT2FrLkNvcmUuTW9kaWZpY2F0aW9uLlN0eWxpbmcuQWxsQ29ubmVjdG9yc0F1eGlsaWFyeUN1c3RvbWl6YXRpb25UYXJnZXQsIEFsdHVhLk9hay5Db3JllQWmAQCiBVlBbHR1YS5PYWsuQ29yZS5Nb2RpZmljYXRpb24uU3R5bGluZy5TZXJpZXNXaXRoUGxvdEtpbmRDdXN0b21pemF0aW9uVGFyZ2V0LCBBbHR1YS5PYWsuQ29yZZ0FqAEDBcAHpQWmAQCoBQUMAwXEB7IFVkFsdHVhLk9hay5Db3JlLk1vZGlmaWNhdGlvbi5TdHlsaW5nLkFsbFNlcmllc01hcmtlckN1c3RvbWl6YXRpb25UYXJnZXQsIEFsdHVhLk9hay5Db3JlrQWsAQC6BTpBbHR1YS5PYWsuQ29yZS5UaGVtaW5nLkJpbmRpbmdDb2xvclBvaW50ZXIsIEFsdHVhLk9hay5Db3JltQWuAQUFyQfzAb0FngEAxgU3QWx0dWEuT2FrLkNvcmUuVGhlbWluZy5QYWdlQ29sb3JQb2ludGVyLCBBbHR1YS5PYWsuQ29yZcEFsQEEAAAIAMkFogEAzQWxAQQAAAgA0QWkAQDVBbEBBAAACADeBVNBbHR1YS5PYWsuQ29yZS5Nb2RpZmljYXRpb24uU3R5bGluZy5BbGxHcmlkbGluZXNDdXN0b21pemF0aW9uVGFyZ2V0LCBBbHR1YS5PYWsuQ29yZdkFtwEA4QVqgICA/+oFTUFsdHVhLk9hay5Db3JlLk1vZGlmaWNhdGlvbi5TdHlsaW5nLlNlcmllc0N1c3RvbWl6YXRpb25UYXJnZXQsIEFsdHVhLk9hay5Db3Jl5QW6ARQEEgQQ3hL/oLfjmVGNga5GutPNVe0FsQEEAAkIAPYFUEFsdHVhLk9hay5Db3JlLk1vZGlmaWNhdGlvbi5TdHlsaW5nLkRhdGFQb2ludEN1c3RvbWl6YXRpb25UYXJnZXQsIEFsdHVhLk9hay5Db3Jl8QW9ASgEEgQQOa6hS2PnK1Gv94eZJj3pqAwSBBCt8ZGjGoJ1X7h1pm/wB+aN+QWxAQQABQgA/QW9ASgEEgQQOa6hS2PnK1Gv94eZJj3pqAwSBBC2eXxy0EHyUKp5dbmyumSbgQZq8LAA/4oGWEFsdHVhLk9hay5Db3JlLk1vZGlmaWNhdGlvbi5TdHlsaW5nLlNlcmllc0xhYmVsT2ZUeXBlQ3VzdG9taXphdGlvblRhcmdldCwgQWx0dWEuT2FrLkNvcmWFBsIBAgACkgZYQWx0dWEuT2FrLkNvcmUuTW9kaWZpY2F0aW9uLlN0eWxpbmcuQWxsVmFsdWVBeGlzTGFiZWxDdXN0b21pemF0aW9uVGFyZ2V0LCBBbHR1YS5PYWsuQ29yZY0GxAEAlQbCAQIAAJ4GVUFsdHVhLk9hay5Db3JlLk1vZGlmaWNhdGlvbi5TdHlsaW5nLkFsbFRvdGFsTGFiZWxzQ3VzdG9taXphdGlvblRhcmdldCwgQWx0dWEuT2FrLkNvcmWZBscBAKYGV0FsdHVhLk9hay5Db3JlLk1vZGlmaWNhdGlvbi5TdHlsaW5nLkFsbENhdGVnb3J5TGFiZWxDdXN0b21pemF0aW9uVGFyZ2V0LCBBbHR1YS5PYWsuQ29yZaEGyQEArgZYQWx0dWEuT2FrLkNvcmUuTW9kaWZpY2F0aW9uLlN0eWxpbmcuQWxsQXV4aWxpYXJ5TGFiZWxDdXN0b21pemF0aW9uVGFyZ2V0LCBBbHR1YS5PYWsuQ29yZakGywEAtgZYQWx0dWEuT2FrLkNvcmUuTW9kaWZpY2F0aW9uLlN0eWxpbmcuQ2F0ZWdvcnlBeGlzVGl0bGVDdXN0b21pemF0aW9uVGFyZ2V0LCBBbHR1YS5PYWsuQ29yZbEGzQEAvgZGQWx0dWEuT2FrLkNvcmUuUGxvdHRpbmcuQXhpc1RpdGxlTGFiZWxQbGFjZW1lbnRPdXRzaWRlLCBBbHR1YS5PYWsuQ29yZbkGzwECAAHGBl1BbHR1YS5PYWsuQ29yZS5Nb2RpZmljYXRpb24uU3R5bGluZy5BbGxWYWx1ZUF4aXNUaXRsZUxhYmVsQ3VzdG9taXphdGlvblRhcmdldCwgQWx0dWEuT2FrLkNvcmXBBtEBAM4GQkFsdHVhLk9hay5Db3JlLlBsb3R0aW5nLkF4aXNUaXRsZUxhYmVsUGxhY2VtZW50RmFyLCBBbHR1YS5PYWsuQ29yZckG0wECAADWBl9BbHR1YS5PYWsuQ29yZS5Nb2RpZmljYXRpb24uU3R5bGluZy5TZXJpZXNMYWJlbHNXaXRoUGxvdEtpbmRDdXN0b21pemF0aW9uVGFyZ2V0LCBBbHR1YS5PYWsuQ29yZdEG1QEFBdAHCADeBj1BbHR1YS5PYWsuQ29yZS5QbG90dGluZy5MYWJlbFBsYWNlbWVudE91dHNpZGUsIEFsdHVhLk9hay5Db3Jl2QbXAQDhBtUBBQXUBwgA5QbEAQDuBkFBbHR1YS5PYWsuQ29yZS5QbG90dGluZy5BeGlzTGFiZWxQbGFjZW1lbnRPdXRzaWRlLCBBbHR1YS5PYWsuQ29yZekG2wECAQDxBskBAPUGywEA/gZGQWx0dWEuT2FrLkNvcmUuUGxvdHRpbmcuQXV4aWxpYXJ5TGFiZWxQbGFjZW1lbnREZWZhdWx0LCBBbHR1YS5PYWsuQ29yZfkG3wEAhgdQQWx0dWEuT2FrLkNvcmUuTW9kaWZpY2F0aW9uLlN0eWxpbmcuQWxsTGFiZWxzQ3VzdG9taXphdGlvblRhcmdldCwgQWx0dWEuT2FrLkNvcmWBB+EBAI4HQkFsdHVhLk9hay5Db3JlLlN5bnRheFN0cnVjdHVyZS5BY3R1YWxGb250U2l6ZVZhbHVlLCBBbHR1YS5PYWsuQ29yZYkH4wEJAwAAAAAAAChAkQfEAQCaB0NBbHR1YS5PYWsuQ29yZS5TeW50YXhTdHJ1Y3R1cmUuQWN0dWFsRm9udENvbG9yVmFsdWUsIEFsdHVhLk9hay5Db3JllQfmAQUF2QexAZ0H0QEAoQfmAQUF3QexAaUHyQEAqQfmAQUF4QexAa0HzQEAsQfmAQUF5QexAboHL0FsdHVhLkRhdGEuSW5mcmFzdHJ1Y3R1cmUuUGFyYWdyYXBoLCBBbHR1YS5EYXRhtQfuAQUMAwXoB70H7gEFDAMF7AfABwEFxAcKAQIAAIBAAABAQM4HSEFsdHVhLk9hay5Db3JlLlN5bnRheFN0cnVjdHVyZS5QbG90U2VyaWVzQmluZGluZ1N0cmF0ZWd5LCBBbHR1YS5PYWsuQ29yZckH8wEA0AcCCQrUBwEF2QexAQQAAAgA3QexAQQAAAgA4QexAQQAAAgA5QexAQQAAAgA6AcGAQHxB/0B7AcGAQH5B/8B9gcvQWx0dWEuRGF0YS5JbmZyYXN0cnVjdHVyZS5OdW1iZXJSdW4sIEFsdHVhLkRhdGHxB/0BEwQOAwAAAAAAoJ9AHYEIgQINiAj+By1BbHR1YS5EYXRhLkluZnJhc3RydWN0dXJlLlRleHRSdW4sIEFsdHVhLkRhdGH5B/8BCgQFTm9yZ2UNjAiGCD1BbHR1YS5EYXRhLk51bWJlckZvcm1hdHRpbmcuQ29tcG9zaXRlTnVtYmVyRm9ybWF0LCBBbHR1YS5EYXRhgQiBAgsdkAgllAg1mAg9AIgIEgQAHAAkACwANAA8AEwAVABdAIwIEgQAHAAkACwANAA8AEwAVABdAJAICQAADAMFnAgRAJQICQAADAMFoAgRAJgICgQBLAwBLhQCa3KcCAYBAaUIigKgCAoBAq0IjAKlCIoCqghAQWx0dWEuRGF0YS5OdW1iZXJGb3JtYXR0aW5nLk51bWJlckZvcm1hdFZhbHVlU2VnbWVudCwgQWx0dWEuRGF0YaUIigIFBAMFtAiyCD9BbHR1YS5EYXRhLk51bWJlckZvcm1hdHRpbmcuTnVtYmVyRm9ybWF0VGV4dFNlZ21lbnQsIEFsdHVhLkRhdGGtCIwCBQQBLQkBtAgGAQG5CI8Cvgg5QWx0dWEuRGF0YS5OdW1iZXJGb3JtYXR0aW5nLk51bWJlclBsYWNlaG9sZGVyLCBBbHR1YS5EYXRhuQiPAgUCMAAAAA=="/>
  <p:tag name="GRUNT-SYNC" val="f975b491c50240f5a039e172139f1c88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oRUKN0FsdHVhLkRhdGEuRGF0YVNlcnZpY2VzLkVtYmVkZGVkRGF0YVNlcnZpY2UsIEFsdHVhLkRhdGEFAhkEEgQQamjURNmoFECI347tNhaLiw0MJREFDAYFGAgUEAoWQUFsdHVhLkRhdGEuRGF0YVNlcnZpY2VzLkVtYmVkZGVkRGF0YVNlcnZpY2VFZGl0b3JEYXRhLCBBbHR1YS5EYXRhEQUEBRwNIBgGBSQNKBUsHDwdBBIEENNz8cQb9wFOoDLwDWItJDkLAAAAAAAAHEAdBBIEEB/rjDimIctLiTIXQgTfWDQLAAAAAAAgYkAglgEdBBIEEAW3udO3DvRJkWQYTUZuRawLAAAAAAAAMkAdBBIEEBF5bi6YHOlPpT4SGa3b+1ULAAAAAAAAMkAdBBIEEIQfkeIbhTVBsLhWaz1JSQ8LAAAAAAAAMkAdBBIEEPksWf79329Fuf5n0yPSqyMLAAAAAAAAMkAdBBIEEKTBruNnE2hCqBmPMX5a7skLAAAAAAAAMkAkBTA0ODxAKAJESCzCAywEKAQSBBDajSsQe0+aTJlGK/NOL/gcDBIEEF+XkJfEWrtCmxAwBnFOxVkNTCwEKAQSBBB1npiRXEMrR4CNoMsd75TjDBIEEF+XkJfEWrtCmxAwBnFOxVkNUCwEKAQSBBAf64w4piHLS4kyF0IE31g0DBIEEOjcGhWyCfxHkHpCy/xxYFsNVCwEKAQSBBDiZ4LqncAVT7eeYK508WqGDBIEEF+XkJfEWrtCmxAwBnFOxVkNWCwEKAQSBBAf64w4piHLS4kyF0IE31g0DBIEEF+XkJfEWrtCmxAwBnFOxVkNXCwEKAQSBBD3DW6nGDeySJvO+xOVXgd1DBIEEF+XkJfEWrtCmxAwBnFOxVkNYCwEKAQSBBD3DW6nGDeySJvO+xOVXgd1DBIEEOjcGhWyCfxHkHpCy/xxYFsNZCwEKAQSBBDiZ4LqncAVT7eeYK508WqGDBIEEOjcGhWyCfxHkHpCy/xxYFsNaCwEKAQSBBDajSsQe0+aTJlGK/NOL/gcDBIEEOjcGhWyCfxHkHpCy/xxYFsNbCwEKAQSBBB1npiRXEMrR4CNoMsd75TjDBIEEOjcGhWyCfxHkHpCy/xxYFsNcDAaBBIEENqNKxB7T5pMmUYr804v+BwMAkMxGQE0GgQSBBAf64w4piHLS4kyF0IE31g0DAJDMhkBOBoEEgQQdZ6YkVxDK0eAjaDLHe+U4wwCQzMZATwbBBIEEPcNbqcYN7JIm877E5VeB3UMA0MxOBkBQBsEEgQQ4meC6p3AFU+3nmCudPFqhgwDQzE5GQFEGgQSBBBfl5CXxFq7QpsQMAZxTsVZDAJSMRkBSBoEEgQQ6NwaFbIJ/EeQekLL/HFgWwwCUjIZAUwEDXQVeFAEDXQVfFQFDXQVgAFYBg2EARWIAVwFDXQVjAFgBg2EARWQAWQGDYQBFZQBaAYNhAEVmAFsBQ10FZwBcAUNdBWgAXQCBAB4BQQDBaQBfAUEAwWoAYABBQQDBawBhAECBACIAQUEAwWwAYwBBQQDBbQBkAEFBAMFuAGUAQUEAwW8AZgBBQQDBcABnAEFBAMFxAGgAQUEAwXIAaQBAgEAqAEFAQHNATSsAQUBAdUBNLABBQEB2QE0tAEFAQHdATS4AQUBAeEBNLwBBQEB5QE0wAEFAQHpATTEAQUBAe0BNMgBBQEB8QE00gEvQWx0dWEuRGF0YS5JbmZyYXN0cnVjdHVyZS5QYXJhZ3JhcGgsIEFsdHVhLkRhdGHNATQFDAMF9AHVATQFDAMF+AHZATQFDAMF/AHdATQFDAMFgALhATQFDAMFhALlATQFDAMFiALpATQFDAMFjALtATQFDAMFkALxATQFDAMFlAL0AQUBAZkCR/gBBQEBoQJJ/AEFAQGpAkeAAgUBAa0CR4QCBQEBsQJHiAIFAQG1AkmMAgUBAbkCSZACBQEBvQJJlAIFAQHBAkmeAi1BbHR1YS5EYXRhLkluZnJhc3RydWN0dXJlLlRleHRSdW4sIEFsdHVhLkRhdGGZAkcUBA9UcsO4bmRlbGFnIFPDuHINxAKmAi9BbHR1YS5EYXRhLkluZnJhc3RydWN0dXJlLk51bWJlclJ1biwgQWx0dWEuRGF0YaECSRIEDQMAAAAAAIBGQB3JAlMN0AKpAkcKBAVOb3JnZQ3UAq0CRxQED1Ryw7huZGVsYWcgTm9yZA3YArECRxUEEE3DuHJlIG9nIFJvbXNkYWwNxAK1AkkSBA0DAAAAAACAQ0Ad3QJTDeACuQJJEgQNAwAAAAAAAEdAHeUCUw3oAr0CSRIEDQMAAAAAAKCfQB3tAlMN8ALBAkkSBA0DAAAAAAAAT0Ad9QJTDfgCxAISBAAcACQALAA0ADwATABUAF0AzgI9QWx0dWEuRGF0YS5OdW1iZXJGb3JtYXR0aW5nLkNvbXBvc2l0ZU51bWJlckZvcm1hdCwgQWx0dWEuRGF0YckCUwsd/AIlgAM1hAM9ANACEgQAHAAkACwANAA8AEwAVABdANQCEgQAHAAkACwANAA8AEwAVABdANgCEgQAHAAkACwANAA8AEwAVABdAN0CUwsdiAMljAM1kAM9AOACEgQAHAAkACwANAA8AEwAVABdAOUCUwsdlAMlmAM1nAM9AOgCEgQAHAAkACwANAA8AEwAVABdAO0CUwsdoAMlpAM1qAM9APACEgQAHAAkACwANAA8AEwAVABdAPUCUwsdrAMlsAM1tAM9APgCEgQAHAAkACwANAA8AEwAVABdAPwCCQAADAMFuAMRAIADCQAADAMFvAMRAIQDCgQBLAwBLhQCa3KIAwkAAAwDBcADEQCMAwkAAAwDBcQDEQCQAwoEASwMAS4UAmtylAMJAAAMAwXIAxEAmAMJAAAMAwXMAxEAnAMKBAEsDAEuFAJrcqADCQAADAMF0AMRAKQDCQAADAMF1AMRAKgDCgQBLAwBLhQCa3KsAwkAAAwDBdgDEQCwAwkAAAwDBdwDEQC0AwoEASwMAS4UAmtyuAMFAQHhA3m8AwgBAukDe+EDecADBQEB8QN5xAMIAQL1A3vxA3nIAwUBAfkDecwDCAEC/QN7+QN50AMFAQGBBHnUAwgBAoUEe4EEedgDBQEBiQR53AMIAQKNBHuJBHnmA0BBbHR1YS5EYXRhLk51bWJlckZvcm1hdHRpbmcuTnVtYmVyRm9ybWF0VmFsdWVTZWdtZW50LCBBbHR1YS5EYXRh4QN5BQQDBZAE7gM/QWx0dWEuRGF0YS5OdW1iZXJGb3JtYXR0aW5nLk51bWJlckZvcm1hdFRleHRTZWdtZW50LCBBbHR1YS5EYXRh6QN7BQQBLQkB8QN5BQQDBZQE9QN7BQQBLQkB+QN5BQQDBZgE/QN7BQQBLQkBgQR5BQQDBZwEhQR7BQQBLQkBiQR5BQQDBaAEjQR7BQQBLQkBkAQGAQGlBIoBlAQGAQGlBIoBmAQGAQGlBIoBnAQGAQGtBIoBoAQGAQGlBIoBqgQ5QWx0dWEuRGF0YS5OdW1iZXJGb3JtYXR0aW5nLk51bWJlclBsYWNlaG9sZGVyLCBBbHR1YS5EYXRhpQSKAQUCMAAAAK0EigEFAjAAAAA="/>
  <p:tag name="GRUNT-RENDERHASH" val="3f18df2dbfda7f561fbf4635e3f308db-svg"/>
  <p:tag name="GRUNT-X-SHAPEBOUNDS" val="ASIBBAAAAMDQ2XZAAAAAAJ44bUAAAABgJdtxQAAAAMA48mZAAA=="/>
  <p:tag name="GRUNT-X-PAGEOBJECT" val="AQUC7S0KOEFsdHVhLk9hay5Db3JlLkRvY3VtZW50TW9kZWwuQ2hhcnRPYmplY3QsIEFsdHVhLk9hay5Db3JlBQI1BBIEEOSXluCZSuFOkv1HS0fRLIYMEgQQamjURNmoFECI347tNhaLixUNBCUUNRg9HFUgZSQSUEFsdHVhLk9hay5Db3JlLkRvY3VtZW50TW9kZWwuVGVtcGxhdGluZy5DdXN0b21Qb3NpdGlvbkRlZmluaXRpb24sIEFsdHVhLk9hay5Db3JlDQQkBCIBBIXRyrnQ3XZAdKQ2izfSbkAvcDVYJdNxQCyOfOxrJWJAFBMVKB0sNTA4AEU1DlU8XUBkAgVEGAQEAgVIHAIFTCALBVAMBW5iLU5PFVQkEAEBCQERARkBIQEpATEBOQAoFgQSBBAAAAAAAAAAAAAAAAAAAAAACAEsFgQSBBAAAAAAAAAAAAAAAAAAAAAACAEwADpHQWx0dWEuT2FrLkNvcmUuQ2hhcnQuQ2x1c3RlcmVkQmFyV2l0aExpbmVQbG90RGVmaW5pdGlvbiwgQWx0dWEuT2FrLkNvcmU1DjUEEgQQfyUhRJMgZ0uqjJmXiZDSQh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B8WQagMC3zSIpPHVFp+JaFFYQCHBIEEBF5bi6YHOlPpT4SGa3b+1UkAC2IAjWNAkSMAUgEEgQQOa6hS2PnK1Gv94eZJj3pqAwSBBB8WQagMC3zSIpPHVFp+JaFFZQCHBIEEOjcGhWyCfxHkHpCy/xxYFskAC2YAjWNAkSQAUIBABgDJZwCKQAxAEAASAJVoAJdpAJkEgQQfFkGoDAt80iKTx1RafiWhW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e490e15d14064d96b2869c35434e67ab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yRIKN0FsdHVhLkRhdGEuRGF0YVNlcnZpY2VzLkVtYmVkZGVkRGF0YVNlcnZpY2UsIEFsdHVhLkRhdGEFAhkEEgQQwZQ71UgFAECQvt+h19yj6A0MJREFDAYFGAgUEAoWQUFsdHVhLkRhdGEuRGF0YVNlcnZpY2VzLkVtYmVkZGVkRGF0YVNlcnZpY2VFZGl0b3JEYXRhLCBBbHR1YS5EYXRhEQUEBRwNIBgGBSQNKBUsHFodBBIEENNz8cQb9wFOoDLwDWItJDkLAAAAAAAAHEAdBBIEEB/rjDimIctLiTIXQgTfWDQLAAAAAAAgYkAdBBIEEOJnguqdwBVPt55grnTxaoYLAAAAAACAREAglgEdBBIEEAW3udO3DvRJkWQYTUZuRawLAAAAAAAAMkAdBBIEEBF5bi6YHOlPpT4SGa3b+1ULAAAAAAAAMkAdBBIEEIQfkeIbhTVBsLhWaz1JSQ8LAAAAAAAAMkAdBBIEEPksWf79329Fuf5n0yPSqyMLAAAAAAAAMkAdBBIEEKTBruNnE2hCqBmPMX5a7skLAAAAAAAAMkAkBDA0ODwoAkBELOgCLAQoBBIEENqNKxB7T5pMmUYr804v+BwMEgQQX5eQl8Rau0KbEDAGcU7FWQ1ILAQoBBIEEHWemJFcQytHgI2gyx3vlOMMEgQQX5eQl8Rau0KbEDAGcU7FWQ1MLAQoBBIEEB/rjDimIctLiTIXQgTfWDQMEgQQ6NwaFbIJ/EeQekLL/HFgWw1QLAQoBBIEEB/rjDimIctLiTIXQgTfWDQMEgQQX5eQl8Rau0KbEDAGcU7FWQ1ULAQoBBIEEPcNbqcYN7JIm877E5VeB3UMEgQQX5eQl8Rau0KbEDAGcU7FWQ1YLAQoBBIEEPcNbqcYN7JIm877E5VeB3UMEgQQ6NwaFbIJ/EeQekLL/HFgWw1cLAQoBBIEENqNKxB7T5pMmUYr804v+BwMEgQQ6NwaFbIJ/EeQekLL/HFgWw1gLAQoBBIEEHWemJFcQytHgI2gyx3vlOMMEgQQ6NwaFbIJ/EeQekLL/HFgWw1kMBoEEgQQ2o0rEHtPmkyZRivzTi/4HAwCQzEZATQaBBIEEB/rjDimIctLiTIXQgTfWDQMAkMyGQE4GgQSBBB1npiRXEMrR4CNoMsd75TjDAJDMxkBPBsEEgQQ9w1upxg3skibzvsTlV4HdQwDQzE4GQFAGgQSBBBfl5CXxFq7QpsQMAZxTsVZDAJSMRkBRBoEEgQQ6NwaFbIJ/EeQekLL/HFgWwwCUjIZAUgEDWgVbEwEDWgVcFAEDWgVdFQEDWgVeFgFDXwVgAFcBQ18FYQBYAUNaBWIAWQFDWgVjAFoAgQAbAUEAwWQAXAFBAMFlAF0BQQDBZgBeAUEAwWcAXwCBACAAQUEAwWgAYQBBQQDBaQBiAEFBAMFqAGMAQUEAwWsAZABAgEAlAEFAQGxAS2YAQUBAbkBLZwBBQEBvQEtoAEFAQHBAS2kAQUBAcUBLagBBQEByQEtrAEFAQHNAS22AS9BbHR1YS5EYXRhLkluZnJhc3RydWN0dXJlLlBhcmFncmFwaCwgQWx0dWEuRGF0YbEBLQUMAwXQAbkBLQUMAwXUAb0BLQUMAwXYAcEBLQUMAwXcAcUBLQUMAwXgAckBLQUMAwXkAc0BLQUMAwXoAdABBQEB7QE81AEFAQH1AT7YAQUBAf0BPNwBBQEBgQI84AEFAQGFAj7kAQUBAYkCPugBBQEBjQI+8gEtQWx0dWEuRGF0YS5JbmZyYXN0cnVjdHVyZS5UZXh0UnVuLCBBbHR1YS5EYXRh7QE8EgQNNS4wMDDigJM5Ljk5OQ2QAvoBL0FsdHVhLkRhdGEuSW5mcmFzdHJ1Y3R1cmUuTnVtYmVyUnVuLCBBbHR1YS5EYXRh9QE+EgQNAwAAAAAAAElAHZUCRg2cAv0BPBAEC1VuZGVyIDUuMDAwDaACgQI8FwQSMTAuMDAwIGVsbGVyIGZsZXJlDaQChQI+EgQNAwAAAAAAAEZAHakCRg2sAokCPhIEDQMAAAAAAKCfQB2xAkYNtAKNAj4SBA0DAAAAAAAATEAduQJGDbwCkAISBAAcACQALAA0ADwATABUAF0AmgI9QWx0dWEuRGF0YS5OdW1iZXJGb3JtYXR0aW5nLkNvbXBvc2l0ZU51bWJlckZvcm1hdCwgQWx0dWEuRGF0YZUCRgsdwAIlxAI1yAI9AJwCEgQAHAAkACwANAA8AEwAVABdAKACEgQAHAAkACwANAA8AEwAVABdAKQCEgQAHAAkACwANAA8AEwAVABdAKkCRgsdzAIl0AI11AI9AKwCEgQAHAAkACwANAA8AEwAVABdALECRgsd2AIl3AI14AI9ALQCEgQAHAAkACwANAA8AEwAVABdALkCRgsd5AIl6AI17AI9ALwCEgQAHAAkACwANAA8AEwAVABdAMACCQAADAMF8AIRAMQCCQAADAMF9AIRAMgCCgQBLAwBLhQCa3LMAgkAAAwDBfgCEQDQAgkAAAwDBfwCEQDUAgoEASwMAS4UAmty2AIJAAAMAwWAAxEA3AIJAAAMAwWEAxEA4AIKBAEsDAEuFAJrcuQCCQAADAMFiAMRAOgCCQAADAMFjAMRAOwCCgQBLAwBLhQCa3LwAgUBAZEDZfQCCAECmQNnkQNl+AIFAQGhA2X8AggBAqUDZ6EDZYADBQEBqQNlhAMIAQKtA2epA2WIAwUBAbEDZYwDCAECtQNnsQNllgNAQWx0dWEuRGF0YS5OdW1iZXJGb3JtYXR0aW5nLk51bWJlckZvcm1hdFZhbHVlU2VnbWVudCwgQWx0dWEuRGF0YZEDZQUEAwW4A54DP0FsdHVhLkRhdGEuTnVtYmVyRm9ybWF0dGluZy5OdW1iZXJGb3JtYXRUZXh0U2VnbWVudCwgQWx0dWEuRGF0YZkDZwUEAS0JAaEDZQUEAwW8A6UDZwUEAS0JAakDZQUEAwXAA60DZwUEAS0JAbEDZQUEAwXEA7UDZwUEAS0JAbgDBQEByQNzvAMFAQHJA3PAAwUBAdEDc8QDBQEByQNzzgM5QWx0dWEuRGF0YS5OdW1iZXJGb3JtYXR0aW5nLk51bWJlclBsYWNlaG9sZGVyLCBBbHR1YS5EYXRhyQNzBQIwAAAA0QNzBQIwAAAA"/>
  <p:tag name="GRUNT-RENDERHASH" val="c57b91a56ec0ebf2bfc99e38960411dd-svg"/>
  <p:tag name="GRUNT-X-SHAPEBOUNDS" val="ASIBBAAAACB+jIVAAAAAQPcfcEAAAADArzltQAAAAMBOkWJAAA=="/>
  <p:tag name="GRUNT-X-PAGEOBJECT" val="AQUC7S0KOEFsdHVhLk9hay5Db3JlLkRvY3VtZW50TW9kZWwuQ2hhcnRPYmplY3QsIEFsdHVhLk9hay5Db3JlBQI1BBIEEEakTxRxAp9OumFixR1UhEsMEgQQwZQ71UgFAECQvt+h19yj6BUNBCUUNRg9HFUgZSQSUEFsdHVhLk9hay5Db3JlLkRvY3VtZW50TW9kZWwuVGVtcGxhdGluZy5DdXN0b21Qb3NpdGlvbkRlZmluaXRpb24sIEFsdHVhLk9hay5Db3JlDQQkBCIBBAAAACB+joVAGU3h/MPscEC8dWyxryltQNww4fs2PF5AFBMVKB0sNTA4AEU1DlU8XUBkAgVEGAQEAgVIHAIFTCALBVAMBW5iLU5PFVQkEAEBCQERARkBIQEpATEBOQAoFgQSBBAAAAAAAAAAAAAAAAAAAAAACAEsFgQSBBAAAAAAAAAAAAAAAAAAAAAACAEwADpHQWx0dWEuT2FrLkNvcmUuQ2hhcnQuQ2x1c3RlcmVkQmFyV2l0aExpbmVQbG90RGVmaW5pdGlvbiwgQWx0dWEuT2FrLkNvcmU1DjUEEgQQ5+vQoMKENEKRoWMJR5ld5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Dnids+SRn4TL9YWGyolF6mFYQCHBIEEBF5bi6YHOlPpT4SGa3b+1UkAC2IAjWNAkSMAUgEEgQQOa6hS2PnK1Gv94eZJj3pqAwSBBDnids+SRn4TL9YWGyolF6mFZQCHBIEEOjcGhWyCfxHkHpCy/xxYFskAC2YAjWNAkSQAUIBABgDJZwCKQAxAEAASAJVoAJdpAJkEgQQ54nbPkkZ+Ey/WFhsqJRepm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1ef43d2198e644c5815790dc7168b9a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RENDERHASH" val="d620c044053ed65a76a738c1d070e1a9-svg"/>
  <p:tag name="GRUNT-X-SHAPEBOUNDS" val="ASIBBAAAAGA6PXZAAAAAwLF9fEAAAABAmaZaQAAAAODCVzRAAA=="/>
  <p:tag name="GRUNT-X-PAGEOBJECT" val="AQUCswIKPkFsdHVhLk9hay5Db3JlLkRvY3VtZW50TW9kZWwuQ2hhcnRMZWdlbmRPYmplY3QsIEFsdHVhLk9hay5Db3JlBQI5BBIEEJWQY7cxrHRJvZ5AYtadUaYUEgQQfyUhRJMgZ0uqjJmXiZDSQi0MNRBEAgUUSABVGQdlIG0kDAQEAgUoEAIFLBQCAQAeUEFsdHVhLk9hay5Db3JlLkRvY3VtZW50TW9kZWwuVGVtcGxhdGluZy5DdXN0b21Qb3NpdGlvbkRlZmluaXRpb24sIEFsdHVhLk9hay5Db3JlGQckBCIBBN3awWk6PXZAAAAAwLF9fEAoEkw0maZaQKCVT+vCVzRAIAsFMAwFbmItTk8VNCQEAQEJASgCAQAsADAKBAEsDAEgFAJrcjQJBAVuYi1OTwgB"/>
  <p:tag name="GRUNT-SYNC" val="efe39c500c4f40388d8607b5f1190de3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RENDERHASH" val="9336b15632cf37762d2308a4019bca95-svg"/>
  <p:tag name="GRUNT-X-SHAPEBOUNDS" val="ASIBBAAAACB+joVAAAAAwLF9fEAAAABgfMVcQAAAAODCVzRAAA=="/>
  <p:tag name="GRUNT-X-PAGEOBJECT" val="AQUCswIKPkFsdHVhLk9hay5Db3JlLkRvY3VtZW50TW9kZWwuQ2hhcnRMZWdlbmRPYmplY3QsIEFsdHVhLk9hay5Db3JlBQI5BBIEEKVYZ7mw60ZAh7Tb3aWEumYUEgQQ5+vQoMKENEKRoWMJR5ld5y0MNRBEAgUUSABVGQdlIG0kDAQEAgUoEAIFLBQCAQAeUEFsdHVhLk9hay5Db3JlLkRvY3VtZW50TW9kZWwuVGVtcGxhdGluZy5DdXN0b21Qb3NpdGlvbkRlZmluaXRpb24sIEFsdHVhLk9hay5Db3JlGQckBCIBBAAAACB+joVAAAAAwLF9fEDgZ5BlfMVcQKCVT+vCVzRAIAsFMAwFbmItTk8VNCQEAQEJASgCAQAsADAKBAEsDAEgFAJrcjQJBAVuYi1OTwgB"/>
  <p:tag name="GRUNT-SYNC" val="537a27ff0415491894ee5be51ebe5fa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RENDERHASH" val="c5d66cb4a588459337e20fa59939eb2b-svg"/>
  <p:tag name="GRUNT-X-SHAPEBOUNDS" val="ASIBBAAAAGBwe0hAAAAAwLF9fEAAAABAmaZaQAAAAODCVzRAAA=="/>
  <p:tag name="GRUNT-X-PAGEOBJECT" val="AQUCswIKPkFsdHVhLk9hay5Db3JlLkRvY3VtZW50TW9kZWwuQ2hhcnRMZWdlbmRPYmplY3QsIEFsdHVhLk9hay5Db3JlBQI5BBIEEGcYB7MSZWdAifXgzCjszFwUEgQQfyUhRJMgZ0uqjJmXiZDSQi0MNRBEAgUUSABVGQdlIG0kDAQEAgUoEAIFLBQCAQAeUEFsdHVhLk9hay5Db3JlLkRvY3VtZW50TW9kZWwuVGVtcGxhdGluZy5DdXN0b21Qb3NpdGlvbkRlZmluaXRpb24sIEFsdHVhLk9hay5Db3JlGQckBCIBBIBI729we0hAAAAAwLF9fEAoEkw0maZaQKCVT+vCVzRAIAsFMAwFbmItTk8VNCQEAQEJASgCAQAsADAKBAEsDAEgFAJrcjQJBAVuYi1OTwgB"/>
  <p:tag name="GRUNT-SYNC" val="fb2c72aecd5c4a46b4939b432da0421c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2f2df054-e65f-4c30-8236-5a5d3e98f76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7goKN0FsdHVhLkRhdGEuRGF0YVNlcnZpY2VzLkVtYmVkZGVkRGF0YVNlcnZpY2UsIEFsdHVhLkRhdGEFAhkEEgQQvtQcn/JznEqkxtE7Jm03TA0MJREFDAYFGAgSEAcWQUFsdHVhLkRhdGEuRGF0YVNlcnZpY2VzLkVtYmVkZGVkRGF0YVNlcnZpY2VFZGl0b3JEYXRhLCBBbHR1YS5EYXRhEQUEBRwNIBgGBSQNKBUsHDwdBBIEENNz8cQb9wFOoDLwDWItJDkLAAAAAAAAHEAdBBIEEB/rjDimIctLiTIXQgTfWDQLAAAAAAAgYkAgWh0EEgQQBbe507cO9EmRZBhNRm5FrAsAAAAAAAAyQB0EEgQQhB+R4huFNUGwuFZrPUlJDwsAAAAAAAAyQB0EEgQQ+SxZ/v3fb0W5/mfTI9KrIwsAAAAAAAAyQCQCMDQoAjg8LLQBLAQoBBIEENqNKxB7T5pMmUYr804v+BwMEgQQX5eQl8Rau0KbEDAGcU7FWQ1ALAQoBBIEEHWemJFcQytHgI2gyx3vlOMMEgQQX5eQl8Rau0KbEDAGcU7FWQ1ELAQoBBIEENqNKxB7T5pMmUYr804v+BwMEgQQ6NwaFbIJ/EeQekLL/HFgWw1ILAQoBBIEEHWemJFcQytHgI2gyx3vlOMMEgQQ6NwaFbIJ/EeQekLL/HFgWw1MMBoEEgQQ2o0rEHtPmkyZRivzTi/4HAwCQzEZATQaBBIEEHWemJFcQytHgI2gyx3vlOMMAkMzGQE4GgQSBBBfl5CXxFq7QpsQMAZxTsVZDAJSMRkBPBoEEgQQ6NwaFbIJ/EeQekLL/HFgWwwCUjIZAUAEDVAVVEQEDVAVWEgEDVAVXEwEDVAVYFACBABUBAQCBWRYBAQCBWhcBAQCBWxgBAQCBXBkAgEAaAQBAXUebAIBAHAEAQF9HnovQWx0dWEuRGF0YS5JbmZyYXN0cnVjdHVyZS5QYXJhZ3JhcGgsIEFsdHVhLkRhdGF1HgUMAwWAAX0eBQwDBYQBgAEFAQGJASOEAQUBAZEBI44BL0FsdHVhLkRhdGEuSW5mcmFzdHJ1Y3R1cmUuTnVtYmVyUnVuLCBBbHR1YS5EYXRhiQEjEgQNAwAAAAAAoJ9AHZUBJg2cAZEBIxIEDQMAAAAAAIBBQB2hASYNpAGaAT1BbHR1YS5EYXRhLk51bWJlckZvcm1hdHRpbmcuQ29tcG9zaXRlTnVtYmVyRm9ybWF0LCBBbHR1YS5EYXRhlQEmCx2oASWsATWwAT0AnAESBAAcACQALAA0ADwATABUAF0AoQEmCx20ASW4ATW8AT0ApAESBAAcACQALAA0ADwATABUAF0AqAEJAAAMAwXAAREArAEJAAAMAwXEAREAsAEKBAEsDAEuFAJrcrQBCQAADAMFyAERALgBCQAADAMFzAERALwBCgQBLAwBLhQCa3LAAQUBAdEBNcQBCAEC2QE30QE1yAEFAQHhATXMAQgBAuUBN+EBNdYBQEFsdHVhLkRhdGEuTnVtYmVyRm9ybWF0dGluZy5OdW1iZXJGb3JtYXRWYWx1ZVNlZ21lbnQsIEFsdHVhLkRhdGHRATUFBAMF6AHeAT9BbHR1YS5EYXRhLk51bWJlckZvcm1hdHRpbmcuTnVtYmVyRm9ybWF0VGV4dFNlZ21lbnQsIEFsdHVhLkRhdGHZATcFBAEtCQHhATUFBAMF7AHlATcFBAEtCQHoAQUBAfEBPewBBQEB+QE99gE5QWx0dWEuRGF0YS5OdW1iZXJGb3JtYXR0aW5nLk51bWJlclBsYWNlaG9sZGVyLCBBbHR1YS5EYXRh8QE9BQIwAAAA+QE9BQIwAAAA"/>
  <p:tag name="GRUNT-RENDERHASH" val="1673318f136f00d97b12786c6cffc81e-svg"/>
  <p:tag name="GRUNT-X-SHAPEBOUNDS" val="ASIBBAAAAGBwW0hAAAAAYAAIckAAAAAA1tJtQAAAAADfKF1AAA=="/>
  <p:tag name="GRUNT-X-PAGEOBJECT" val="AQUCoTEKOEFsdHVhLk9hay5Db3JlLkRvY3VtZW50TW9kZWwuQ2hhcnRPYmplY3QsIEFsdHVhLk9hay5Db3JlBQI1BBIEEII1/s3soJlDsun/uucIKCoMEgQQvtQcn/JznEqkxtE7Jm03TBUNBCUUNRg9HFUgZSQSUEFsdHVhLk9hay5Db3JlLkRvY3VtZW50TW9kZWwuVGVtcGxhdGluZy5DdXN0b21Qb3NpdGlvbkRlZmluaXRpb24sIEFsdHVhLk9hay5Db3JlDQQkBCIBBIBI729we0hAk02TyWYOc0BoyecE1sJtQPQuGcmrdVRAFBMVKB0sNTA4AEU1DlU8XUBkAgVEGAQEAgVIHAIFTCALBVAMBW5iLU5PFVQkEAEBCQERARkBIQEpATEBOQAoFgQSBBAAAAAAAAAAAAAAAAAAAAAACAEsFgQSBBAAAAAAAAAAAAAAAAAAAAAACAEwADpHQWx0dWEuT2FrLkNvcmUuQ2hhcnQuQ2x1c3RlcmVkQmFyV2l0aExpbmVQbG90RGVmaW5pdGlvbiwgQWx0dWEuT2FrLkNvcmU1DjUEEgQQLoISghVsSUqjm36s2krp/B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W9AH4AfwBgAKEAogCjAKQApQCmAKcAogBSQQSBBA5rqFLY+crUa/3h5kmPemoDBIEEEPKZUeRaMNFi2sCm2bLfW0VoAIcEgQQ6NwaFbIJ/EeQekLL/HFgWyQBAS2kAjWpAkuMAUkEEgQQ3hL/oLfjmVGNga5GutPNVQwSBBBDymVHkWjDRYtrAptmy31tFbACHBIEEPksWf79329Fuf5n0yPSqyMkAQEttAI1qQJLkAFCAQAYAyW4AikAMQBAAEgCVbwCXcACZBIEEEPKZUeRaMNFi2sCm2bLfW1txAJ1yAKNAcwCkQEBnQHQAqUB1AK1AdgClAECAQCYAQUEAwXcApwBBQQDBeACoAEFBAMF5AKkAQUEAwXoAqgBBQQDBdwCrAEFBAMF3AKwAQUEAwXsArQBBQQDBfACuAEFBAMF9AK8AQUEAwX4AsABBQQDBfwCxAEFBAMFgAPIAQUEAwWEA8wBBQQDBYgD0AEFBAMFjAPUAQUEAwWQA9gBBQQDBZQD3AEFBAMFmAPgAQUEAwWcA+QBBQQDBaAD6AECAQDsAQYFpQNqCATwAQYFrQNqCAT0ASsEEgQQtnl8ctBB8lCqeXW5srpkmwwSBBAf64w4piHLS4kyF0IE31g0HAEB+AErBBIEEK3xkaMagnVfuHWmb/AH5o0MEgQQdZ6YkVxDK0eAjaDLHe+U4xwBAfwBKwQSBBAUgTfa/GNkVrpdQgis1b/wDBIEEDN2LlbKrM9DuJ/41/dD8iIcAQGAAisEEgQQd2MwujbKQFSz3yjnTKcylwwSBBBZn2HmWJE/SIQqnrz3HmVGHAEBhAIrBBIEED1DZfZn2ddWnpP2n9ATgkIMEgQQ5PInsc7xekOZNXqmuIfDUhwBAYgCKwQSBBCD+4py9nD8QKBTKFF6ohauDBIEEJvzN8z2MBhPpn+BGWPNv6ocAQGMAisEEgQQUp3Hd2NQf0aKrpw65Q0tWAwSBBC/BNzlG01aS63JT5V8CUTVHAEBkAIrBBIEEJcFcGzx2fpNmxxZeq8thPUMEgQQHQWFMRz7TkSitZTvRM8LzhwBAZQCKwQSBBBrSd+3cy9oT6p3sNZBUA3rDBIEEPvRt2941KNPtNbA4wnNe0kcAQGYAisEEgQQ4ikfsnaK4EuJU/fmpsixuQwSBBDoAmmIksVpR4Wcmdp5Uj9+HAEBnAIrBBIEEEAq3kmQwJxKnB8PlG7IsdMMEgQQ2l47+0cTPky0l42NcMy3CBwBAaACBQWwAwgBpAIEBQAIAa4CPkFsdHVhLk9hay5Db3JlLkNoYXJ0LkRlZmF1bHRQbG90U2VyaWVzU2V0dGluZ3MsIEFsdHVhLk9hay5Db3JlqQJLALACBQW0AwgBtAIEBQAIAbgCCwMAAAAAAAAAAAgCvAILAwAAAAAAAAAACAHAAgsDAAAAAAAAAAAIAcQCFQW4Aw28AxXAAx3EAyXIAy3MAzXQA8gCBw3UAxXZA2rMAgsDAAAAAAAAAAAIBNACBgXdA2oIBNQCBgXdA2oIBNgCBQQDBeAD3AICAQDgAg4BBuQD6APsA/AD9AP4A+QCBAEB/APoAgIBAOwCAgEA8AICAQD0AhIBCIAEhASIBIwEkASUBJgEnAT4AgIBAPwCDgEGoASkBKgErASwBLQEgAMQAQe4BLwEwATEBMgEzATQBIQDAgEAiAMEAQHUBIwDCgEE2ATcBOAE5ASQAwIBAJQDAgEAmAMCAQCcAwIBAKADAgEAqgMzQWx0dWEuT2FrLkNvcmUuVGhlbWluZy5Db2xvclBvaW50ZXIsIEFsdHVhLk9hay5Db3JlpQNqUFBQ/60DalBQUP+wAwUEAwXoBLQDBQQDBewEuAMHBAMEAQAIBLwDBQQBLggEwAMEAAEIBMQDBAAACATIAwQEAAgEzAMEBAAIBNADBAAACATUAwUEAwXwBNkDaj4+5f/dA2pQUFD/4AMCAQDkAw4F9QSeAQsAAAAAAAAAAOgDDgX9BKABCwAAAAAAAAAA7AMOBYUFogELAAAAAAAA4D/wAw4FjQWkAQsAAAAAAADgP/QDDgWVBaYBCwAAAAAAAOA/+AMOBZ0FqAELAAAAAAAA+D/8AwgFpQWmAQ2oBYAECgWtBawBDbUFrgGEBAoFvQWeAQ3BBbEBiAQKBckFogENzQWxAYwECgXRBaQBDdUFsQGQBAkF2QW3AQ3hBWqUBAoF5QW6AQ3tBbEBmAQKBfEFvQEN+QWxAZwECQX9Bb0BDYEGaqAEBwWFBsIBCQGkBAcFjQbEAQkAqAQHBZUGwgEJAawEBwWZBscBCQGwBAcFoQbJAQkBtAQHBakGywEJAbgECgWxBs0BDbkGzwG8BAoFwQbRAQ3JBtMBwAQKBdEG1QEN2QbXAcQECgXhBtUBDdkG1wHIBAoF5QbEAQ3pBtsBzAQKBfEGyQEN6QbbAdAECgX1BssBDfkG3wHUBAoFgQfhAQ2JB+MB2AQKBZEHxAENlQfmAdwECgWdB9EBDaEH5gHgBAoFpQfJAQ2pB+YB5AQKBa0HzQENsQfmAegEBgEBtQfuAewEBgEBvQfuAfAEBAECAQT6BFNBbHR1YS5PYWsuQ29yZS5Nb2RpZmljYXRpb24uU3R5bGluZy5BbGxWYWx1ZUF4aXNDdXN0b21pemF0aW9uVGFyZ2V0LCBBbHR1YS5PYWsuQ29yZfUEngEAggVZQWx0dWEuT2FrLkNvcmUuTW9kaWZpY2F0aW9uLlN0eWxpbmcuVmFsdWVBeGlzR3JpZGxpbmVzQ3VzdG9taXphdGlvblRhcmdldCwgQWx0dWEuT2FrLkNvcmX9BKABAIoFU0FsdHVhLk9hay5Db3JlLk1vZGlmaWNhdGlvbi5TdHlsaW5nLkNhdGVnb3J5QXhpc0N1c3RvbWl6YXRpb25UYXJnZXQsIEFsdHVhLk9hay5Db3JlhQWiAQCSBVBBbHR1YS5PYWsuQ29yZS5Nb2RpZmljYXRpb24uU3R5bGluZy5Pcmlnb0xpbmVDdXN0b21pemF0aW9uVGFyZ2V0LCBBbHR1YS5PYWsuQ29yZY0FpAEAmgVdQWx0dWEuT2FrLkNvcmUuTW9kaWZpY2F0aW9uLlN0eWxpbmcuQWxsQ29ubmVjdG9yc0F1eGlsaWFyeUN1c3RvbWl6YXRpb25UYXJnZXQsIEFsdHVhLk9hay5Db3JllQWmAQCiBVlBbHR1YS5PYWsuQ29yZS5Nb2RpZmljYXRpb24uU3R5bGluZy5TZXJpZXNXaXRoUGxvdEtpbmRDdXN0b21pemF0aW9uVGFyZ2V0LCBBbHR1YS5PYWsuQ29yZZ0FqAEDBcAHpQWmAQCoBQUMAwXEB7IFVkFsdHVhLk9hay5Db3JlLk1vZGlmaWNhdGlvbi5TdHlsaW5nLkFsbFNlcmllc01hcmtlckN1c3RvbWl6YXRpb25UYXJnZXQsIEFsdHVhLk9hay5Db3JlrQWsAQC6BTpBbHR1YS5PYWsuQ29yZS5UaGVtaW5nLkJpbmRpbmdDb2xvclBvaW50ZXIsIEFsdHVhLk9hay5Db3JltQWuAQUFyQfzAb0FngEAxgU3QWx0dWEuT2FrLkNvcmUuVGhlbWluZy5QYWdlQ29sb3JQb2ludGVyLCBBbHR1YS5PYWsuQ29yZcEFsQEEAAAIAMkFogEAzQWxAQQAAAgA0QWkAQDVBbEBBAAACADeBVNBbHR1YS5PYWsuQ29yZS5Nb2RpZmljYXRpb24uU3R5bGluZy5BbGxHcmlkbGluZXNDdXN0b21pemF0aW9uVGFyZ2V0LCBBbHR1YS5PYWsuQ29yZdkFtwEA4QVqgICA/+oFTUFsdHVhLk9hay5Db3JlLk1vZGlmaWNhdGlvbi5TdHlsaW5nLlNlcmllc0N1c3RvbWl6YXRpb25UYXJnZXQsIEFsdHVhLk9hay5Db3Jl5QW6ARQEEgQQ3hL/oLfjmVGNga5GutPNVe0FsQEEAAkIAPYFUEFsdHVhLk9hay5Db3JlLk1vZGlmaWNhdGlvbi5TdHlsaW5nLkRhdGFQb2ludEN1c3RvbWl6YXRpb25UYXJnZXQsIEFsdHVhLk9hay5Db3Jl8QW9ASgEEgQQOa6hS2PnK1Gv94eZJj3pqAwSBBCt8ZGjGoJ1X7h1pm/wB+aN+QWxAQQABQgA/QW9ASgEEgQQOa6hS2PnK1Gv94eZJj3pqAwSBBC2eXxy0EHyUKp5dbmyumSbgQZq8LAA/4oGWEFsdHVhLk9hay5Db3JlLk1vZGlmaWNhdGlvbi5TdHlsaW5nLlNlcmllc0xhYmVsT2ZUeXBlQ3VzdG9taXphdGlvblRhcmdldCwgQWx0dWEuT2FrLkNvcmWFBsIBAgACkgZYQWx0dWEuT2FrLkNvcmUuTW9kaWZpY2F0aW9uLlN0eWxpbmcuQWxsVmFsdWVBeGlzTGFiZWxDdXN0b21pemF0aW9uVGFyZ2V0LCBBbHR1YS5PYWsuQ29yZY0GxAEAlQbCAQIAAJ4GVUFsdHVhLk9hay5Db3JlLk1vZGlmaWNhdGlvbi5TdHlsaW5nLkFsbFRvdGFsTGFiZWxzQ3VzdG9taXphdGlvblRhcmdldCwgQWx0dWEuT2FrLkNvcmWZBscBAKYGV0FsdHVhLk9hay5Db3JlLk1vZGlmaWNhdGlvbi5TdHlsaW5nLkFsbENhdGVnb3J5TGFiZWxDdXN0b21pemF0aW9uVGFyZ2V0LCBBbHR1YS5PYWsuQ29yZaEGyQEArgZYQWx0dWEuT2FrLkNvcmUuTW9kaWZpY2F0aW9uLlN0eWxpbmcuQWxsQXV4aWxpYXJ5TGFiZWxDdXN0b21pemF0aW9uVGFyZ2V0LCBBbHR1YS5PYWsuQ29yZakGywEAtgZYQWx0dWEuT2FrLkNvcmUuTW9kaWZpY2F0aW9uLlN0eWxpbmcuQ2F0ZWdvcnlBeGlzVGl0bGVDdXN0b21pemF0aW9uVGFyZ2V0LCBBbHR1YS5PYWsuQ29yZbEGzQEAvgZGQWx0dWEuT2FrLkNvcmUuUGxvdHRpbmcuQXhpc1RpdGxlTGFiZWxQbGFjZW1lbnRPdXRzaWRlLCBBbHR1YS5PYWsuQ29yZbkGzwECAAHGBl1BbHR1YS5PYWsuQ29yZS5Nb2RpZmljYXRpb24uU3R5bGluZy5BbGxWYWx1ZUF4aXNUaXRsZUxhYmVsQ3VzdG9taXphdGlvblRhcmdldCwgQWx0dWEuT2FrLkNvcmXBBtEBAM4GQkFsdHVhLk9hay5Db3JlLlBsb3R0aW5nLkF4aXNUaXRsZUxhYmVsUGxhY2VtZW50RmFyLCBBbHR1YS5PYWsuQ29yZckG0wECAADWBl9BbHR1YS5PYWsuQ29yZS5Nb2RpZmljYXRpb24uU3R5bGluZy5TZXJpZXNMYWJlbHNXaXRoUGxvdEtpbmRDdXN0b21pemF0aW9uVGFyZ2V0LCBBbHR1YS5PYWsuQ29yZdEG1QEFBdAHCADeBj1BbHR1YS5PYWsuQ29yZS5QbG90dGluZy5MYWJlbFBsYWNlbWVudE91dHNpZGUsIEFsdHVhLk9hay5Db3Jl2QbXAQDhBtUBBQXUBwgA5QbEAQDuBkFBbHR1YS5PYWsuQ29yZS5QbG90dGluZy5BeGlzTGFiZWxQbGFjZW1lbnRPdXRzaWRlLCBBbHR1YS5PYWsuQ29yZekG2wECAQDxBskBAPUGywEA/gZGQWx0dWEuT2FrLkNvcmUuUGxvdHRpbmcuQXV4aWxpYXJ5TGFiZWxQbGFjZW1lbnREZWZhdWx0LCBBbHR1YS5PYWsuQ29yZfkG3wEAhgdQQWx0dWEuT2FrLkNvcmUuTW9kaWZpY2F0aW9uLlN0eWxpbmcuQWxsTGFiZWxzQ3VzdG9taXphdGlvblRhcmdldCwgQWx0dWEuT2FrLkNvcmWBB+EBAI4HQkFsdHVhLk9hay5Db3JlLlN5bnRheFN0cnVjdHVyZS5BY3R1YWxGb250U2l6ZVZhbHVlLCBBbHR1YS5PYWsuQ29yZYkH4wEJAwAAAAAAAChAkQfEAQCaB0NBbHR1YS5PYWsuQ29yZS5TeW50YXhTdHJ1Y3R1cmUuQWN0dWFsRm9udENvbG9yVmFsdWUsIEFsdHVhLk9hay5Db3JllQfmAQUF2QexAZ0H0QEAoQfmAQUF3QexAaUHyQEAqQfmAQUF4QexAa0HzQEAsQfmAQUF5QexAboHL0FsdHVhLkRhdGEuSW5mcmFzdHJ1Y3R1cmUuUGFyYWdyYXBoLCBBbHR1YS5EYXRhtQfuAQUMAwXoB70H7gEFDAMF7AfABwEFxAcKAQIAAIBAAABAQM4HSEFsdHVhLk9hay5Db3JlLlN5bnRheFN0cnVjdHVyZS5QbG90U2VyaWVzQmluZGluZ1N0cmF0ZWd5LCBBbHR1YS5PYWsuQ29yZckH8wEA0AcCCQrUBwEF2QexAQQAAAgA3QexAQQAAAgA4QexAQQAAAgA5QexAQQAAAgA6AcGAQHxB/0B7AcGAQH5B/8B9gcvQWx0dWEuRGF0YS5JbmZyYXN0cnVjdHVyZS5OdW1iZXJSdW4sIEFsdHVhLkRhdGHxB/0BEwQOAwAAAAAAoJ9AHYEIgQINiAj+By1BbHR1YS5EYXRhLkluZnJhc3RydWN0dXJlLlRleHRSdW4sIEFsdHVhLkRhdGH5B/8BCgQFTm9yZ2UNjAiGCD1BbHR1YS5EYXRhLk51bWJlckZvcm1hdHRpbmcuQ29tcG9zaXRlTnVtYmVyRm9ybWF0LCBBbHR1YS5EYXRhgQiBAgsdkAgllAg1mAg9AIgIEgQAHAAkACwANAA8AEwAVABdAIwIEgQAHAAkACwANAA8AEwAVABdAJAICQAADAMFnAgRAJQICQAADAMFoAgRAJgICgQBLAwBLhQCa3KcCAYBAaUIigKgCAoBAq0IjAKlCIoCqghAQWx0dWEuRGF0YS5OdW1iZXJGb3JtYXR0aW5nLk51bWJlckZvcm1hdFZhbHVlU2VnbWVudCwgQWx0dWEuRGF0YaUIigIFBAMFtAiyCD9BbHR1YS5EYXRhLk51bWJlckZvcm1hdHRpbmcuTnVtYmVyRm9ybWF0VGV4dFNlZ21lbnQsIEFsdHVhLkRhdGGtCIwCBQQBLQkBtAgGAQG5CI8Cvgg5QWx0dWEuRGF0YS5OdW1iZXJGb3JtYXR0aW5nLk51bWJlclBsYWNlaG9sZGVyLCBBbHR1YS5EYXRhuQiPAgUCMAAAAA=="/>
  <p:tag name="GRUNT-SYNC" val="a1a944f335cb412d8eb96918802a4e4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vB0KN0FsdHVhLkRhdGEuRGF0YVNlcnZpY2VzLkVtYmVkZGVkRGF0YVNlcnZpY2UsIEFsdHVhLkRhdGEFAhkEEgQQpswcNkr2K0WVF/7npZ46yQ0MJREFDAYFGAgSEAcWQUFsdHVhLkRhdGEuRGF0YVNlcnZpY2VzLkVtYmVkZGVkRGF0YVNlcnZpY2VFZGl0b3JEYXRhLCBBbHR1YS5EYXRhEQUEBRwNIBgGBSQNKBUsHDwdBBIEENNz8cQb9wFOoDLwDWItJDkLAAAAAAAAHEAdBBIEEB/rjDimIctLiTIXQgTfWDQLAAAAAAAgYkAgPB0EEgQQBbe507cO9EmRZBhNRm5FrAsAAAAAAAAyQB0EEgQQhB+R4huFNUGwuFZrPUlJDwsAAAAAAAAyQCQFMDQ4PEAoA0RITCymBSwEKAQSBBDajSsQe0+aTJlGK/NOL/gcDBIEEF+XkJfEWrtCmxAwBnFOxVkNUCwEKAQSBBB1npiRXEMrR4CNoMsd75TjDBIEEF+XkJfEWrtCmxAwBnFOxVkNVCwEKAQSBBAf64w4piHLS4kyF0IE31g0DBIEEOjcGhWyCfxHkHpCy/xxYFsNWCwEKAQSBBAzdi5WyqzPQ7if+Nf3Q/IiDBIEEF+XkJfEWrtCmxAwBnFOxVkNXCwEKAQSBBAf64w4piHLS4kyF0IE31g0DBIEEF+XkJfEWrtCmxAwBnFOxVkNYCwEKAQSBBAzdi5WyqzPQ7if+Nf3Q/IiDBIEEOjcGhWyCfxHkHpCy/xxYFsNZCwEKAQSBBBZn2HmWJE/SIQqnrz3HmVGDBIEEF+XkJfEWrtCmxAwBnFOxVkNaCwEKAQSBBDajSsQe0+aTJlGK/NOL/gcDBIEEPksWf79329Fuf5n0yPSqyMNbCwEKAQSBBB1npiRXEMrR4CNoMsd75TjDBIEEPksWf79329Fuf5n0yPSqyMNcCwEKAQSBBBZn2HmWJE/SIQqnrz3HmVGDBIEEOjcGhWyCfxHkHpCy/xxYFsNdCwEKAQSBBBZn2HmWJE/SIQqnrz3HmVGDBIEEPksWf79329Fuf5n0yPSqyMNeCwEKAQSBBDajSsQe0+aTJlGK/NOL/gcDBIEEOjcGhWyCfxHkHpCy/xxYFsNfC0EKAQSBBAf64w4piHLS4kyF0IE31g0DBIEEPksWf79329Fuf5n0yPSqyMNgAEtBCgEEgQQM3YuVsqsz0O4n/jX90PyIgwSBBD5LFn+/d9vRbn+Z9Mj0qsjDYQBLQQoBBIEEHWemJFcQytHgI2gyx3vlOMMEgQQ6NwaFbIJ/EeQekLL/HFgWw2IATAaBBIEENqNKxB7T5pMmUYr804v+BwMAkMxGQE0GgQSBBAf64w4piHLS4kyF0IE31g0DAJDMhkBOBoEEgQQdZ6YkVxDK0eAjaDLHe+U4wwCQzMZATwaBBIEEDN2LlbKrM9DuJ/41/dD8iIMAkM0GQFAGgQSBBBZn2HmWJE/SIQqnrz3HmVGDAJDNRkBRBoEEgQQX5eQl8Rau0KbEDAGcU7FWQwCUjEZAUgaBBIEEOjcGhWyCfxHkHpCy/xxYFsMAlIyGQFMGgQSBBD5LFn+/d9vRbn+Z9Mj0qsjDAJSMxkBUAYNjAEVkAFUBg2MARWUAVgGDYwBFZgBXAYNjAEVnAFgBg2MARWgAWQGDYwBFaQBaAYNjAEVqAFsBg2MARWsAXAGDYwBFbABdAYNtAEVuAF4Bg2MARW8AXwGDYwBFcABgAEGDYwBFcQBhAEGDYwBFcgBiAEGDYwBFcwBjAECBACQAQUEAwXQAZQBBQQDBdQBmAEFBAMF2AGcAQUEAwXcAaABBQQDBeABpAEFBAMF5AGoAQUEAwXoAawBBQQDBewBsAEFBAMF8AG0AQIEALgBBQQDBfQBvAEFBAMF+AHAAQUEAwX8AcQBBQQDBYACyAEFBAMFhALMAQUEAwWIAtABAgEA1AEFAQGNAkTYAQUBAZUCRNwBBQEBmQJE4AEFAQGdAkTkAQUBAaECROgBBQEBpQJE7AEFAQGpAkTwAQUBAa0CRPQBBQEBsQJE+AEFAQG1AkT8AQUBAbkCRIACBQEBvQJEhAIFAQHBAkSIAgUBAcUCRJICL0FsdHVhLkRhdGEuSW5mcmFzdHJ1Y3R1cmUuUGFyYWdyYXBoLCBBbHR1YS5EYXRhjQJEBQwDBcgClQJEBQwDBcwCmQJEBQwDBdACnQJEBQwDBdQCoQJEBQwDBdgCpQJEBQwDBdwCqQJEBQwDBeACrQJEBQwDBeQCsQJEBQwDBegCtQJEBQwDBewCuQJEBQwDBfACvQJEBQwDBfQCwQJEBQwDBfgCxQJEBQwDBfwCyAIFAQGBA2HMAgUBAYkDY9ACBQEBkQNh1AIFAQGVA2HYAgUBAZkDY9wCBQEBnQNh4AIFAQGhA2HkAgUBAaUDY+gCBQEBqQNj7AIFAQGtA2PwAgUBAbEDY/QCBQEBtQNj+AIFAQG5A2P8AgUBAb0DY4YDLUFsdHVhLkRhdGEuSW5mcmFzdHJ1Y3R1cmUuVGV4dFJ1biwgQWx0dWEuRGF0YYEDYRsEFkphLCB1dGVuIG92ZXJnYW5nc3BsYW4NwAOOAy9BbHR1YS5EYXRhLkluZnJhc3RydWN0dXJlLk51bWJlclJ1biwgQWx0dWEuRGF0YYkDYxIEDQMAAAAAAAA2QB3FA3INzAORA2EIBANOZWkN0AOVA2EaBBVKYSwgbWVkIG92ZXJnYW5nc3BsYW4N1AOZA2MSBA0DAAAAAAAAO0Ad2QNyDdwDnQNhDQQIVmV0IGlra2UN4AOhA2EKBAVOb3JnZQ3kA6UDYxIEDQMAAAAAAIBGQB3pA3IN7AOpA2MSBA0DAAAAAAAAEEAd8QNyDfQDrQNjEgQNAwAAAAAAACRAHfkDcg38A7EDYxIEDQMAAAAAAKCfQB2BBHINhAS1A2MSBA0DAAAAAAAANUAdiQRyDYwEuQNjEgQNAwAAAAAAADhAHZEEcg2UBL0DYxIEDQMAAAAAAIBHQB2ZBHINnATAAxIEABwAJAAsADQAPABMAFQAXQDKAz1BbHR1YS5EYXRhLk51bWJlckZvcm1hdHRpbmcuQ29tcG9zaXRlTnVtYmVyRm9ybWF0LCBBbHR1YS5EYXRhxQNyCx2gBCWkBDWoBD0AzAMSBAAcACQALAA0ADwATABUAF0A0AMSBAAcACQALAA0ADwATABUAF0A1AMSBAAcACQALAA0ADwATABUAF0A2QNyCx2sBCWwBDW0BD0A3AMSBAAcACQALAA0ADwATABUAF0A4AMSBAAcACQALAA0ADwATABUAF0A5AMSBAAcACQALAA0ADwATABUAF0A6QNyCx24BCW8BDXABD0A7AMSBAAcACQALAA0ADwATABUAF0A8QNyCx3EBCXIBDXMBD0A9AMSBAAcACQALAA0ADwATABUAF0A+QNyCx3QBCXUBDXYBD0A/AMSBAAcACQALAA0ADwATABUAF0AgQRyCx3cBCXgBDXkBD0AhAQSBAAcACQALAA0ADwATABUAF0AiQRyCx3oBCXsBDXwBD0AjAQSBAAcACQALAA0ADwATABUAF0AkQRyCx30BCX4BDX8BD0AlAQSBAAcACQALAA0ADwATABUAF0AmQRyCx2ABSWEBTWIBT0AnAQSBAAcACQALAA0ADwATABUAF0AoAQJAAAMAwWMBREApAQJAAAMAwWQBREAqAQKBAEsDAEuFAJrcqwECQAADAMFlAURALAECQAADAMFmAURALQECgQBLAwBLhQCa3K4BAkAAAwDBZwFEQC8BAkAAAwDBaAFEQDABAoEASwMAS4UAmtyxAQJAAAMAwWkBREAyAQJAAAMAwWoBREAzAQKBAEsDAEuFAJrctAECQAADAMFrAURANQECQAADAMFsAURANgECgQBLAwBLhQCa3LcBAkAAAwDBbQFEQDgBAkAAAwDBbgFEQDkBAoEASwMAS4UAmty6AQJAAAMAwW8BREA7AQJAAAMAwXABREA8AQKBAEsDAEuFAJrcvQECQAADAMFxAURAPgECQAADAMFyAURAPwECgQBLAwBLhQCa3KABQkAAAwDBcwFEQCEBQkAAAwDBdAFEQCIBQoEASwMAS4UAmtyjAUGAQHVBbYBkAUKAQLdBbgB1QW2AZQFBgEB5QW2AZgFCgEC6QW4AeUFtgGcBQYBAe0FtgGgBQoBAvEFuAHtBbYBpAUGAQH1BbYBqAUKAQL5BbgB9QW2AawFBgEB/QW2AbAFCgECgQa4Af0FtgG0BQYBAYUGtgG4BQoBAokGuAGFBrYBvAUGAQGNBrYBwAUKAQKRBrgBjQa2AcQFBgEBlQa2AcgFCgECmQa4AZUGtgHMBQYBAZ0GtgHQBQoBAqEGuAGdBrYB2gVAQWx0dWEuRGF0YS5OdW1iZXJGb3JtYXR0aW5nLk51bWJlckZvcm1hdFZhbHVlU2VnbWVudCwgQWx0dWEuRGF0YdUFtgEFBAMFpAbiBT9BbHR1YS5EYXRhLk51bWJlckZvcm1hdHRpbmcuTnVtYmVyRm9ybWF0VGV4dFNlZ21lbnQsIEFsdHVhLkRhdGHdBbgBBQQBLQkB5QW2AQUEAwWoBukFuAEFBAEtCQHtBbYBBQQDBawG8QW4AQUEAS0JAfUFtgEFBAMFsAb5BbgBBQQBLQkB/QW2AQUEAwW0BoEGuAEFBAEtCQGFBrYBBQQDBbgGiQa4AQUEAS0JAY0GtgEFBAMFvAaRBrgBBQQBLQkBlQa2AQUEAwXABpkGuAEFBAEtCQGdBrYBBQQDBcQGoQa4AQUEAS0JAaQGBgEByQbTAagGBgEByQbTAawGBgEByQbTAbAGBgEByQbTAbQGBgEByQbTAbgGBgEB0QbTAbwGBgEByQbTAcAGBgEByQbTAcQGBgEByQbTAc4GOUFsdHVhLkRhdGEuTnVtYmVyRm9ybWF0dGluZy5OdW1iZXJQbGFjZWhvbGRlciwgQWx0dWEuRGF0YckG0wEFAjAAAADRBtMBBQIwAAAA"/>
  <p:tag name="GRUNT-RENDERHASH" val="59b01d29468f50ca72d7610bb62f26fb-svg"/>
  <p:tag name="GRUNT-X-SHAPEBOUNDS" val="ASIBBAAAAOB4sFBAAAAAQDOzb0AAAABA3Mh2QAAAAKAa7GZAAA=="/>
  <p:tag name="GRUNT-X-PAGEOBJECT" val="AQUC+C8KOEFsdHVhLk9hay5Db3JlLkRvY3VtZW50TW9kZWwuQ2hhcnRPYmplY3QsIEFsdHVhLk9hay5Db3JlBQI1BBIEEPBXML3i54dOvRo6XIwtpgkMEgQQpswcNkr2K0WVF/7npZ46yRUNBCUUNRg9HFUgZSQSUEFsdHVhLk9hay5Db3JlLkRvY3VtZW50TW9kZWwuVGVtcGxhdGluZy5DdXN0b21Qb3NpdGlvbkRlZmluaXRpb24sIEFsdHVhLk9hay5Db3JlDQQkBCIBBEhj3N14wFBAAAAAAADgcEBDbKlF3MB2QCJeL0G0xWBAFBMVKB0sNTA4AEU1DlU8XUBkAgVEGAQEAgVIHAIFTCALBVAMBW5iLU5PFVQkEAEBCQERARkBIQEpATEBOQAoFgQSBBAAAAAAAAAAAAAAAAAAAAAACAEsFgQSBBAAAAAAAAAAAAAAAAAAAAAACAEwADpHQWx0dWEuT2FrLkNvcmUuQ2hhcnQuQ2x1c3RlcmVkQmFyV2l0aExpbmVQbG90RGVmaW5pdGlvbiwgQWx0dWEuT2FrLkNvcmU1DjUEEgQQJl58HMIX6UmyuF2nX5n3jB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W9AH4AfwBgAKEAogCjAKQApQCmAKcAogBSQQSBBA5rqFLY+crUa/3h5kmPemoDBIEEGYXE1N9IXJDhGcjtJPoB3sVoAIcEgQQ6NwaFbIJ/EeQekLL/HFgWyQBAS2kAjWpAkuMAUkEEgQQ3hL/oLfjmVGNga5GutPNVQwSBBBmFxNTfSFyQ4RnI7ST6Ad7FbACHBIEEPksWf79329Fuf5n0yPSqyMkAQEttAI1qQJLkAFCAQAYAyW4AikAMQBAAEgCVbwCXcACZBIEEGYXE1N9IXJDhGcjtJPoB3ttxAJ1yAKNAcwCkQEBnQHQAqUB1AK1AdgClAECAQCYAQUEAwXcApwBBQQDBeACoAEFBAMF5AKkAQUEAwXoAqgBBQQDBdwCrAEFBAMF3AKwAQUEAwXsArQBBQQDBfACuAEFBAMF9AK8AQUEAwX4AsABBQQDBfwCxAEFBAMFgAPIAQUEAwWEA8wBBQQDBYgD0AEFBAMFjAPUAQUEAwWQA9gBBQQDBZQD3AEFBAMFmAPgAQUEAwWcA+QBBQQDBaAD6AECAQDsAQYFpQNqCATwAQYFrQNqCAT0ASsEEgQQtnl8ctBB8lCqeXW5srpkmwwSBBAf64w4piHLS4kyF0IE31g0HAEB+AErBBIEEK3xkaMagnVfuHWmb/AH5o0MEgQQdZ6YkVxDK0eAjaDLHe+U4xwBAfwBKwQSBBAUgTfa/GNkVrpdQgis1b/wDBIEEDN2LlbKrM9DuJ/41/dD8iIcAQGAAisEEgQQd2MwujbKQFSz3yjnTKcylwwSBBBZn2HmWJE/SIQqnrz3HmVGHAEBhAIrBBIEED1DZfZn2ddWnpP2n9ATgkIMEgQQ5PInsc7xekOZNXqmuIfDUhwBAYgCKwQSBBCD+4py9nD8QKBTKFF6ohauDBIEEJvzN8z2MBhPpn+BGWPNv6ocAQGMAisEEgQQUp3Hd2NQf0aKrpw65Q0tWAwSBBC/BNzlG01aS63JT5V8CUTVHAEBkAIrBBIEEJcFcGzx2fpNmxxZeq8thPUMEgQQHQWFMRz7TkSitZTvRM8LzhwBAZQCKwQSBBBrSd+3cy9oT6p3sNZBUA3rDBIEEPvRt2941KNPtNbA4wnNe0kcAQGYAisEEgQQ4ikfsnaK4EuJU/fmpsixuQwSBBDoAmmIksVpR4Wcmdp5Uj9+HAEBnAIrBBIEEEAq3kmQwJxKnB8PlG7IsdMMEgQQ2l47+0cTPky0l42NcMy3CBwBAaACBQWwAwgBpAIEBQAIAa4CPkFsdHVhLk9hay5Db3JlLkNoYXJ0LkRlZmF1bHRQbG90U2VyaWVzU2V0dGluZ3MsIEFsdHVhLk9hay5Db3JlqQJLALACBQW0AwgBtAIEBQAIAbgCCwMAAAAAAAAAAAgCvAILAwAAAAAAAAAACAHAAgsDAAAAAAAAAAAIAcQCFQW4Aw28AxXAAx3EAyXIAy3MAzXQA8gCBw3UAxXZA2rMAgsDAAAAAAAAAAAIBNACBgXdA2oIBNQCBgXdA2oIBNgCBQQDBeAD3AICAQDgAg4BBuQD6APsA/AD9AP4A+QCBAEB/APoAgIBAOwCAgEA8AICAQD0AhABB4AEhASIBIwEkASUBJgE+AICAQD8Ag4BBpwEoASkBKgErASwBIADEAEHtAS4BLwEwATEBMgEzASEAwIBAIgDBAEB0ASMAwoBBNQE2ATcBOAEkAMCAQCUAwIBAJgDAgEAnAMCAQCgAwIBAKoDM0FsdHVhLk9hay5Db3JlLlRoZW1pbmcuQ29sb3JQb2ludGVyLCBBbHR1YS5PYWsuQ29yZaUDalBQUP+tA2pQUFD/sAMFBAMF5AS0AwUEAwXoBLgDBwQDBAEACAS8AwUEAS4IBMADBAABCATEAwQAAAgEyAMEBAAIBMwDBAQACATQAwQAAAgE1AMFBAMF7ATZA2o+PuX/3QNqUFBQ/+ADAgEA5AMOBfEEnQELAAAAAAAAAADoAw4F+QSfAQsAAAAAAAAAAOwDDgWBBaEBCwAAAAAAAOA/8AMOBYkFowELAAAAAAAA4D/0Aw4FkQWlAQsAAAAAAADgP/gDDgWZBacBCwAAAAAAAPg//AMIBaEFpQENpAWABAoFqQWrAQ2xBa0BhAQKBbkFnQENvQWwAYgECgXFBaEBDckFsAGMBAoFzQWjAQ3RBbABkAQJBdUFtgEN3QVqlAQKBeEFuQEN6QWwAZgECgXtBbkBDfEFsAGcBAcF9QW+AQkBoAQHBf0FwAEJAKQEBwWFBr4BCQGoBAcFiQbDAQkBrAQHBZEGxQEJAbAEBwWZBscBCQG0BAoFoQbJAQ2pBssBuAQKBbEGzQENuQbPAbwECgXBBtEBDckG0wHABAoF0QbRAQ3JBtMBxAQKBdUGwAEN2QbXAcgECgXhBsUBDdkG1wHMBAoF5QbHAQ3pBtsB0AQKBfEG3QEN+QbfAdQECgWBB8ABDYUH4gHYBAoFjQfNAQ2RB+IB3AQKBZUHxQENmQfiAeAECgWdB8kBDaEH4gHkBAYBAaUH6gHoBAYBAa0H6gHsBAQBAgEE9gRTQWx0dWEuT2FrLkNvcmUuTW9kaWZpY2F0aW9uLlN0eWxpbmcuQWxsVmFsdWVBeGlzQ3VzdG9taXphdGlvblRhcmdldCwgQWx0dWEuT2FrLkNvcmXxBJ0BAP4EWUFsdHVhLk9hay5Db3JlLk1vZGlmaWNhdGlvbi5TdHlsaW5nLlZhbHVlQXhpc0dyaWRsaW5lc0N1c3RvbWl6YXRpb25UYXJnZXQsIEFsdHVhLk9hay5Db3Jl+QSfAQCGBVNBbHR1YS5PYWsuQ29yZS5Nb2RpZmljYXRpb24uU3R5bGluZy5DYXRlZ29yeUF4aXNDdXN0b21pemF0aW9uVGFyZ2V0LCBBbHR1YS5PYWsuQ29yZYEFoQEAjgVQQWx0dWEuT2FrLkNvcmUuTW9kaWZpY2F0aW9uLlN0eWxpbmcuT3JpZ29MaW5lQ3VzdG9taXphdGlvblRhcmdldCwgQWx0dWEuT2FrLkNvcmWJBaMBAJYFXUFsdHVhLk9hay5Db3JlLk1vZGlmaWNhdGlvbi5TdHlsaW5nLkFsbENvbm5lY3RvcnNBdXhpbGlhcnlDdXN0b21pemF0aW9uVGFyZ2V0LCBBbHR1YS5PYWsuQ29yZZEFpQEAngVZQWx0dWEuT2FrLkNvcmUuTW9kaWZpY2F0aW9uLlN0eWxpbmcuU2VyaWVzV2l0aFBsb3RLaW5kQ3VzdG9taXphdGlvblRhcmdldCwgQWx0dWEuT2FrLkNvcmWZBacBAwWwB6EFpQEApAUFDAMFtAeuBVZBbHR1YS5PYWsuQ29yZS5Nb2RpZmljYXRpb24uU3R5bGluZy5BbGxTZXJpZXNNYXJrZXJDdXN0b21pemF0aW9uVGFyZ2V0LCBBbHR1YS5PYWsuQ29yZakFqwEAtgU6QWx0dWEuT2FrLkNvcmUuVGhlbWluZy5CaW5kaW5nQ29sb3JQb2ludGVyLCBBbHR1YS5PYWsuQ29yZbEFrQEFBbkH7wG5BZ0BAMIFN0FsdHVhLk9hay5Db3JlLlRoZW1pbmcuUGFnZUNvbG9yUG9pbnRlciwgQWx0dWEuT2FrLkNvcmW9BbABBAAACADFBaEBAMkFsAEEAAAIAM0FowEA0QWwAQQAAAgA2gVTQWx0dWEuT2FrLkNvcmUuTW9kaWZpY2F0aW9uLlN0eWxpbmcuQWxsR3JpZGxpbmVzQ3VzdG9taXphdGlvblRhcmdldCwgQWx0dWEuT2FrLkNvcmXVBbYBAN0FaoCAgP/mBU1BbHR1YS5PYWsuQ29yZS5Nb2RpZmljYXRpb24uU3R5bGluZy5TZXJpZXNDdXN0b21pemF0aW9uVGFyZ2V0LCBBbHR1YS5PYWsuQ29yZeEFuQEUBBIEEN4S/6C345lRjYGuRrrTzVXpBbABBAAJCADtBbkBFAQSBBA5rqFLY+crUa/3h5kmPemo8QWwAQQABQgA+gVYQWx0dWEuT2FrLkNvcmUuTW9kaWZpY2F0aW9uLlN0eWxpbmcuU2VyaWVzTGFiZWxPZlR5cGVDdXN0b21pemF0aW9uVGFyZ2V0LCBBbHR1YS5PYWsuQ29yZfUFvgECAAKCBlhBbHR1YS5PYWsuQ29yZS5Nb2RpZmljYXRpb24uU3R5bGluZy5BbGxWYWx1ZUF4aXNMYWJlbEN1c3RvbWl6YXRpb25UYXJnZXQsIEFsdHVhLk9hay5Db3Jl/QXAAQCFBr4BAgAAjgZVQWx0dWEuT2FrLkNvcmUuTW9kaWZpY2F0aW9uLlN0eWxpbmcuQWxsVG90YWxMYWJlbHNDdXN0b21pemF0aW9uVGFyZ2V0LCBBbHR1YS5PYWsuQ29yZYkGwwEAlgZXQWx0dWEuT2FrLkNvcmUuTW9kaWZpY2F0aW9uLlN0eWxpbmcuQWxsQ2F0ZWdvcnlMYWJlbEN1c3RvbWl6YXRpb25UYXJnZXQsIEFsdHVhLk9hay5Db3JlkQbFAQCeBlhBbHR1YS5PYWsuQ29yZS5Nb2RpZmljYXRpb24uU3R5bGluZy5BbGxBdXhpbGlhcnlMYWJlbEN1c3RvbWl6YXRpb25UYXJnZXQsIEFsdHVhLk9hay5Db3JlmQbHAQCmBlhBbHR1YS5PYWsuQ29yZS5Nb2RpZmljYXRpb24uU3R5bGluZy5DYXRlZ29yeUF4aXNUaXRsZUN1c3RvbWl6YXRpb25UYXJnZXQsIEFsdHVhLk9hay5Db3JloQbJAQCuBkZBbHR1YS5PYWsuQ29yZS5QbG90dGluZy5BeGlzVGl0bGVMYWJlbFBsYWNlbWVudE91dHNpZGUsIEFsdHVhLk9hay5Db3JlqQbLAQIAAbYGXUFsdHVhLk9hay5Db3JlLk1vZGlmaWNhdGlvbi5TdHlsaW5nLkFsbFZhbHVlQXhpc1RpdGxlTGFiZWxDdXN0b21pemF0aW9uVGFyZ2V0LCBBbHR1YS5PYWsuQ29yZbEGzQEAvgZCQWx0dWEuT2FrLkNvcmUuUGxvdHRpbmcuQXhpc1RpdGxlTGFiZWxQbGFjZW1lbnRGYXIsIEFsdHVhLk9hay5Db3JluQbPAQIAAMYGX0FsdHVhLk9hay5Db3JlLk1vZGlmaWNhdGlvbi5TdHlsaW5nLlNlcmllc0xhYmVsc1dpdGhQbG90S2luZEN1c3RvbWl6YXRpb25UYXJnZXQsIEFsdHVhLk9hay5Db3JlwQbRAQUFwAcIAM4GPUFsdHVhLk9hay5Db3JlLlBsb3R0aW5nLkxhYmVsUGxhY2VtZW50T3V0c2lkZSwgQWx0dWEuT2FrLkNvcmXJBtMBANEG0QEFBcQHCADVBsABAN4GQUFsdHVhLk9hay5Db3JlLlBsb3R0aW5nLkF4aXNMYWJlbFBsYWNlbWVudE91dHNpZGUsIEFsdHVhLk9hay5Db3Jl2QbXAQIBAOEGxQEA5QbHAQDuBkZBbHR1YS5PYWsuQ29yZS5QbG90dGluZy5BdXhpbGlhcnlMYWJlbFBsYWNlbWVudERlZmF1bHQsIEFsdHVhLk9hay5Db3Jl6QbbAQD2BlBBbHR1YS5PYWsuQ29yZS5Nb2RpZmljYXRpb24uU3R5bGluZy5BbGxMYWJlbHNDdXN0b21pemF0aW9uVGFyZ2V0LCBBbHR1YS5PYWsuQ29yZfEG3QEA/gZCQWx0dWEuT2FrLkNvcmUuU3ludGF4U3RydWN0dXJlLkFjdHVhbEZvbnRTaXplVmFsdWUsIEFsdHVhLk9hay5Db3Jl+QbfAQkDAAAAAAAAKECBB8ABAIoHQ0FsdHVhLk9hay5Db3JlLlN5bnRheFN0cnVjdHVyZS5BY3R1YWxGb250Q29sb3JWYWx1ZSwgQWx0dWEuT2FrLkNvcmWFB+IBBQXJB7ABjQfNAQCRB+IBBQXNB7ABlQfFAQCZB+IBBQXRB7ABnQfJAQChB+IBBQXVB7ABqgcvQWx0dWEuRGF0YS5JbmZyYXN0cnVjdHVyZS5QYXJhZ3JhcGgsIEFsdHVhLkRhdGGlB+oBBQwDBdgHrQfqAQUMAwXcB7AHAQW0BwoBAgAAgEAAAEBAvgdIQWx0dWEuT2FrLkNvcmUuU3ludGF4U3RydWN0dXJlLlBsb3RTZXJpZXNCaW5kaW5nU3RyYXRlZ3ksIEFsdHVhLk9hay5Db3JluQfvAQDABwIJCsQHAQXJB7ABBAAACADNB7ABBAAACADRB7ABBAAACADVB7ABBAAACADYBwYBAeEH+QHcBwYBAekH+wHmBy9BbHR1YS5EYXRhLkluZnJhc3RydWN0dXJlLk51bWJlclJ1biwgQWx0dWEuRGF0YeEH+QETBA4DAAAAAACgn0Ad8Qf9AQ34B+4HLUFsdHVhLkRhdGEuSW5mcmFzdHJ1Y3R1cmUuVGV4dFJ1biwgQWx0dWEuRGF0YekH+wEKBAVOb3JnZQ38B/YHPUFsdHVhLkRhdGEuTnVtYmVyRm9ybWF0dGluZy5Db21wb3NpdGVOdW1iZXJGb3JtYXQsIEFsdHVhLkRhdGHxB/0BCx2ACCWECDWICD0A+AcSBAAcACQALAA0ADwATABUAF0A/AcSBAAcACQALAA0ADwATABUAF0AgAgJAAAMAwWMCBEAhAgJAAAMAwWQCBEAiAgKBAEsDAEuFAJrcowIBgEBlQiGApAICgECnQiIApUIhgKaCEBBbHR1YS5EYXRhLk51bWJlckZvcm1hdHRpbmcuTnVtYmVyRm9ybWF0VmFsdWVTZWdtZW50LCBBbHR1YS5EYXRhlQiGAgUEAwWkCKIIP0FsdHVhLkRhdGEuTnVtYmVyRm9ybWF0dGluZy5OdW1iZXJGb3JtYXRUZXh0U2VnbWVudCwgQWx0dWEuRGF0YZ0IiAIFBAEtCQGkCAYBAakIiwKuCDlBbHR1YS5EYXRhLk51bWJlckZvcm1hdHRpbmcuTnVtYmVyUGxhY2Vob2xkZXIsIEFsdHVhLkRhdGGpCIsCBQIwAAAA"/>
  <p:tag name="GRUNT-SYNC" val="2f028e36785a4d078ce59db6584c6216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oRUKN0FsdHVhLkRhdGEuRGF0YVNlcnZpY2VzLkVtYmVkZGVkRGF0YVNlcnZpY2UsIEFsdHVhLkRhdGEFAhkEEgQQNRsk8FGKFEWA17/0Th7Wng0MJREFDAYFGAgUEAoWQUFsdHVhLkRhdGEuRGF0YVNlcnZpY2VzLkVtYmVkZGVkRGF0YVNlcnZpY2VFZGl0b3JEYXRhLCBBbHR1YS5EYXRhEQUEBRwNIBgGBSQNKBUsHDwdBBIEENNz8cQb9wFOoDLwDWItJDkLAAAAAAAAHEAdBBIEEB/rjDimIctLiTIXQgTfWDQLAAAAAAAgYkAglgEdBBIEEAW3udO3DvRJkWQYTUZuRawLAAAAAAAAMkAdBBIEEBF5bi6YHOlPpT4SGa3b+1ULAAAAAAAAMkAdBBIEEIQfkeIbhTVBsLhWaz1JSQ8LAAAAAAAAMkAdBBIEEPksWf79329Fuf5n0yPSqyMLAAAAAAAAMkAdBBIEEKTBruNnE2hCqBmPMX5a7skLAAAAAAAAMkAkBTA0ODxAKAJESCzCAywEKAQSBBDajSsQe0+aTJlGK/NOL/gcDBIEEF+XkJfEWrtCmxAwBnFOxVkNTCwEKAQSBBB1npiRXEMrR4CNoMsd75TjDBIEEF+XkJfEWrtCmxAwBnFOxVkNUCwEKAQSBBAf64w4piHLS4kyF0IE31g0DBIEEOjcGhWyCfxHkHpCy/xxYFsNVCwEKAQSBBDiZ4LqncAVT7eeYK508WqGDBIEEF+XkJfEWrtCmxAwBnFOxVkNWCwEKAQSBBAf64w4piHLS4kyF0IE31g0DBIEEF+XkJfEWrtCmxAwBnFOxVkNXCwEKAQSBBD3DW6nGDeySJvO+xOVXgd1DBIEEF+XkJfEWrtCmxAwBnFOxVkNYCwEKAQSBBD3DW6nGDeySJvO+xOVXgd1DBIEEOjcGhWyCfxHkHpCy/xxYFsNZCwEKAQSBBDiZ4LqncAVT7eeYK508WqGDBIEEOjcGhWyCfxHkHpCy/xxYFsNaCwEKAQSBBDajSsQe0+aTJlGK/NOL/gcDBIEEOjcGhWyCfxHkHpCy/xxYFsNbCwEKAQSBBB1npiRXEMrR4CNoMsd75TjDBIEEOjcGhWyCfxHkHpCy/xxYFsNcDAaBBIEENqNKxB7T5pMmUYr804v+BwMAkMxGQE0GgQSBBAf64w4piHLS4kyF0IE31g0DAJDMhkBOBoEEgQQdZ6YkVxDK0eAjaDLHe+U4wwCQzMZATwbBBIEEPcNbqcYN7JIm877E5VeB3UMA0MxOBkBQBsEEgQQ4meC6p3AFU+3nmCudPFqhgwDQzE5GQFEGgQSBBBfl5CXxFq7QpsQMAZxTsVZDAJSMRkBSBoEEgQQ6NwaFbIJ/EeQekLL/HFgWwwCUjIZAUwEDXQVeFAEDXQVfFQFDXQVgAFYBg2EARWIAVwFDXQVjAFgBg2EARWQAWQGDYQBFZQBaAYNhAEVmAFsBQ10FZwBcAUNdBWgAXQCBAB4BQQDBaQBfAUEAwWoAYABBQQDBawBhAECBACIAQUEAwWwAYwBBQQDBbQBkAEFBAMFuAGUAQUEAwW8AZgBBQQDBcABnAEFBAMFxAGgAQUEAwXIAaQBAgEAqAEFAQHNATSsAQUBAdUBNLABBQEB2QE0tAEFAQHdATS4AQUBAeEBNLwBBQEB5QE0wAEFAQHpATTEAQUBAe0BNMgBBQEB8QE00gEvQWx0dWEuRGF0YS5JbmZyYXN0cnVjdHVyZS5QYXJhZ3JhcGgsIEFsdHVhLkRhdGHNATQFDAMF9AHVATQFDAMF+AHZATQFDAMF/AHdATQFDAMFgALhATQFDAMFhALlATQFDAMFiALpATQFDAMFjALtATQFDAMFkALxATQFDAMFlAL0AQUBAZkCR/gBBQEBoQJJ/AEFAQGpAkeAAgUBAa0CR4QCBQEBsQJHiAIFAQG1AkmMAgUBAbkCSZACBQEBvQJJlAIFAQHBAkmeAi1BbHR1YS5EYXRhLkluZnJhc3RydWN0dXJlLlRleHRSdW4sIEFsdHVhLkRhdGGZAkcUBA9UcsO4bmRlbGFnIFPDuHINxAKmAi9BbHR1YS5EYXRhLkluZnJhc3RydWN0dXJlLk51bWJlclJ1biwgQWx0dWEuRGF0YaECSRIEDQMAAAAAAIBLQB3JAlMN0AKpAkcKBAVOb3JnZQ3UAq0CRxQED1Ryw7huZGVsYWcgTm9yZA3YArECRxUEEE3DuHJlIG9nIFJvbXNkYWwNxAK1AkkSBA0DAAAAAAAAOkAd3QJTDeACuQJJEgQNAwAAAAAAAEBAHeUCUw3oAr0CSRIEDQMAAAAAAKCfQB3tAlMN8ALBAkkSBA0DAAAAAACAQUAd9QJTDfgCxAISBAAcACQALAA0ADwATABUAF0AzgI9QWx0dWEuRGF0YS5OdW1iZXJGb3JtYXR0aW5nLkNvbXBvc2l0ZU51bWJlckZvcm1hdCwgQWx0dWEuRGF0YckCUwsd/AIlgAM1hAM9ANACEgQAHAAkACwANAA8AEwAVABdANQCEgQAHAAkACwANAA8AEwAVABdANgCEgQAHAAkACwANAA8AEwAVABdAN0CUwsdiAMljAM1kAM9AOACEgQAHAAkACwANAA8AEwAVABdAOUCUwsdlAMlmAM1nAM9AOgCEgQAHAAkACwANAA8AEwAVABdAO0CUwsdoAMlpAM1qAM9APACEgQAHAAkACwANAA8AEwAVABdAPUCUwsdrAMlsAM1tAM9APgCEgQAHAAkACwANAA8AEwAVABdAPwCCQAADAMFuAMRAIADCQAADAMFvAMRAIQDCgQBLAwBLhQCa3KIAwkAAAwDBcADEQCMAwkAAAwDBcQDEQCQAwoEASwMAS4UAmtylAMJAAAMAwXIAxEAmAMJAAAMAwXMAxEAnAMKBAEsDAEuFAJrcqADCQAADAMF0AMRAKQDCQAADAMF1AMRAKgDCgQBLAwBLhQCa3KsAwkAAAwDBdgDEQCwAwkAAAwDBdwDEQC0AwoEASwMAS4UAmtyuAMFAQHhA3m8AwgBAukDe+EDecADBQEB8QN5xAMIAQL1A3vxA3nIAwUBAfkDecwDCAEC/QN7+QN50AMFAQGBBHnUAwgBAoUEe4EEedgDBQEBiQR53AMIAQKNBHuJBHnmA0BBbHR1YS5EYXRhLk51bWJlckZvcm1hdHRpbmcuTnVtYmVyRm9ybWF0VmFsdWVTZWdtZW50LCBBbHR1YS5EYXRh4QN5BQQDBZAE7gM/QWx0dWEuRGF0YS5OdW1iZXJGb3JtYXR0aW5nLk51bWJlckZvcm1hdFRleHRTZWdtZW50LCBBbHR1YS5EYXRh6QN7BQQBLQkB8QN5BQQDBZQE9QN7BQQBLQkB+QN5BQQDBZgE/QN7BQQBLQkBgQR5BQQDBZwEhQR7BQQBLQkBiQR5BQQDBaAEjQR7BQQBLQkBkAQGAQGlBIoBlAQGAQGlBIoBmAQGAQGlBIoBnAQGAQGtBIoBoAQGAQGlBIoBqgQ5QWx0dWEuRGF0YS5OdW1iZXJGb3JtYXR0aW5nLk51bWJlclBsYWNlaG9sZGVyLCBBbHR1YS5EYXRhpQSKAQUCMAAAAK0EigEFAjAAAAA="/>
  <p:tag name="GRUNT-RENDERHASH" val="07a777a6d13eab444b947f212572526b-svg"/>
  <p:tag name="GRUNT-X-SHAPEBOUNDS" val="ASIBBAAAAMDQ2XZAAAAAYGZmbkAAAABgJdtxQAAAAEBwJGVAAA=="/>
  <p:tag name="GRUNT-X-PAGEOBJECT" val="AQUC7S0KOEFsdHVhLk9hay5Db3JlLkRvY3VtZW50TW9kZWwuQ2hhcnRPYmplY3QsIEFsdHVhLk9hay5Db3JlBQI1BBIEEP3RMC4pvZBChTmclLqrNrUMEgQQNRsk8FGKFEWA17/0Th7WnhUNBCUUNRg9HFUgZSQSUEFsdHVhLk9hay5Db3JlLkRvY3VtZW50TW9kZWwuVGVtcGxhdGluZy5DdXN0b21Qb3NpdGlvbkRlZmluaXRpb24sIEFsdHVhLk9hay5Db3JlDQQkBCIBBIXRyrnQ3XZAAAAAAAAAcEAvcDVYJdNxQKAys3ejV2BAFBMVKB0sNTA4AEU1DlU8XUBkAgVEGAQEAgVIHAIFTCALBVAMBW5iLU5PFVQkEAEBCQERARkBIQEpATEBOQAoFgQSBBAAAAAAAAAAAAAAAAAAAAAACAEsFgQSBBAAAAAAAAAAAAAAAAAAAAAACAEwADpHQWx0dWEuT2FrLkNvcmUuQ2hhcnQuQ2x1c3RlcmVkQmFyV2l0aExpbmVQbG90RGVmaW5pdGlvbiwgQWx0dWEuT2FrLkNvcmU1DjUEEgQQYJL/Y/T+ZEyY3zw46pnjUh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ByxTmJDLYJRLLtUg8p3lFoFYQCHBIEEBF5bi6YHOlPpT4SGa3b+1UkAC2IAjWNAkSMAUgEEgQQOa6hS2PnK1Gv94eZJj3pqAwSBBByxTmJDLYJRLLtUg8p3lFoFZQCHBIEEOjcGhWyCfxHkHpCy/xxYFskAC2YAjWNAkSQAUIBABgDJZwCKQAxAEAASAJVoAJdpAJkEgQQcsU5iQy2CUSy7VIPKd5RaG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5a752fefec0c4274b4adbffa597daf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yRIKN0FsdHVhLkRhdGEuRGF0YVNlcnZpY2VzLkVtYmVkZGVkRGF0YVNlcnZpY2UsIEFsdHVhLkRhdGEFAhkEEgQQDveEFzS3MEGVoXb4H5+AFw0MJREFDAYFGAgUEAoWQUFsdHVhLkRhdGEuRGF0YVNlcnZpY2VzLkVtYmVkZGVkRGF0YVNlcnZpY2VFZGl0b3JEYXRhLCBBbHR1YS5EYXRhEQUEBRwNIBgGBSQNKBUsHFodBBIEENNz8cQb9wFOoDLwDWItJDkLAAAAAAAAHEAdBBIEEB/rjDimIctLiTIXQgTfWDQLAAAAAAAgYkAdBBIEEOJnguqdwBVPt55grnTxaoYLAAAAAACAREAglgEdBBIEEAW3udO3DvRJkWQYTUZuRawLAAAAAAAAMkAdBBIEEBF5bi6YHOlPpT4SGa3b+1ULAAAAAAAAMkAdBBIEEIQfkeIbhTVBsLhWaz1JSQ8LAAAAAAAAMkAdBBIEEPksWf79329Fuf5n0yPSqyMLAAAAAAAAMkAdBBIEEKTBruNnE2hCqBmPMX5a7skLAAAAAAAAMkAkBDA0ODwoAkBELOgCLAQoBBIEENqNKxB7T5pMmUYr804v+BwMEgQQX5eQl8Rau0KbEDAGcU7FWQ1ILAQoBBIEEHWemJFcQytHgI2gyx3vlOMMEgQQX5eQl8Rau0KbEDAGcU7FWQ1MLAQoBBIEEB/rjDimIctLiTIXQgTfWDQMEgQQ6NwaFbIJ/EeQekLL/HFgWw1QLAQoBBIEEB/rjDimIctLiTIXQgTfWDQMEgQQX5eQl8Rau0KbEDAGcU7FWQ1ULAQoBBIEEPcNbqcYN7JIm877E5VeB3UMEgQQX5eQl8Rau0KbEDAGcU7FWQ1YLAQoBBIEEPcNbqcYN7JIm877E5VeB3UMEgQQ6NwaFbIJ/EeQekLL/HFgWw1cLAQoBBIEENqNKxB7T5pMmUYr804v+BwMEgQQ6NwaFbIJ/EeQekLL/HFgWw1gLAQoBBIEEHWemJFcQytHgI2gyx3vlOMMEgQQ6NwaFbIJ/EeQekLL/HFgWw1kMBoEEgQQ2o0rEHtPmkyZRivzTi/4HAwCQzEZATQaBBIEEB/rjDimIctLiTIXQgTfWDQMAkMyGQE4GgQSBBB1npiRXEMrR4CNoMsd75TjDAJDMxkBPBsEEgQQ9w1upxg3skibzvsTlV4HdQwDQzE4GQFAGgQSBBBfl5CXxFq7QpsQMAZxTsVZDAJSMRkBRBoEEgQQ6NwaFbIJ/EeQekLL/HFgWwwCUjIZAUgEDWgVbEwEDWgVcFAEDWgVdFQEDWgVeFgFDXwVgAFcBQ18FYQBYAUNaBWIAWQFDWgVjAFoAgQAbAUEAwWQAXAFBAMFlAF0BQQDBZgBeAUEAwWcAXwCBACAAQUEAwWgAYQBBQQDBaQBiAEFBAMFqAGMAQUEAwWsAZABAgEAlAEFAQGxAS2YAQUBAbkBLZwBBQEBvQEtoAEFAQHBAS2kAQUBAcUBLagBBQEByQEtrAEFAQHNAS22AS9BbHR1YS5EYXRhLkluZnJhc3RydWN0dXJlLlBhcmFncmFwaCwgQWx0dWEuRGF0YbEBLQUMAwXQAbkBLQUMAwXUAb0BLQUMAwXYAcEBLQUMAwXcAcUBLQUMAwXgAckBLQUMAwXkAc0BLQUMAwXoAdABBQEB7QE81AEFAQH1AT7YAQUBAf0BPNwBBQEBgQI84AEFAQGFAj7kAQUBAYkCPugBBQEBjQI+8gEtQWx0dWEuRGF0YS5JbmZyYXN0cnVjdHVyZS5UZXh0UnVuLCBBbHR1YS5EYXRh7QE8EgQNNS4wMDDigJM5Ljk5OQ2QAvoBL0FsdHVhLkRhdGEuSW5mcmFzdHJ1Y3R1cmUuTnVtYmVyUnVuLCBBbHR1YS5EYXRh9QE+EgQNAwAAAAAAAEJAHZUCRg2cAv0BPBAEC1VuZGVyIDUuMDAwDaACgQI8FwQSMTAuMDAwIGVsbGVyIGZsZXJlDaQChQI+EgQNAwAAAAAAAEBAHakCRg2sAokCPhIEDQMAAAAAAKCfQB2xAkYNtAKNAj4SBA0DAAAAAAAAQ0AduQJGDbwCkAISBAAcACQALAA0ADwATABUAF0AmgI9QWx0dWEuRGF0YS5OdW1iZXJGb3JtYXR0aW5nLkNvbXBvc2l0ZU51bWJlckZvcm1hdCwgQWx0dWEuRGF0YZUCRgsdwAIlxAI1yAI9AJwCEgQAHAAkACwANAA8AEwAVABdAKACEgQAHAAkACwANAA8AEwAVABdAKQCEgQAHAAkACwANAA8AEwAVABdAKkCRgsdzAIl0AI11AI9AKwCEgQAHAAkACwANAA8AEwAVABdALECRgsd2AIl3AI14AI9ALQCEgQAHAAkACwANAA8AEwAVABdALkCRgsd5AIl6AI17AI9ALwCEgQAHAAkACwANAA8AEwAVABdAMACCQAADAMF8AIRAMQCCQAADAMF9AIRAMgCCgQBLAwBLhQCa3LMAgkAAAwDBfgCEQDQAgkAAAwDBfwCEQDUAgoEASwMAS4UAmty2AIJAAAMAwWAAxEA3AIJAAAMAwWEAxEA4AIKBAEsDAEuFAJrcuQCCQAADAMFiAMRAOgCCQAADAMFjAMRAOwCCgQBLAwBLhQCa3LwAgUBAZEDZfQCCAECmQNnkQNl+AIFAQGhA2X8AggBAqUDZ6EDZYADBQEBqQNlhAMIAQKtA2epA2WIAwUBAbEDZYwDCAECtQNnsQNllgNAQWx0dWEuRGF0YS5OdW1iZXJGb3JtYXR0aW5nLk51bWJlckZvcm1hdFZhbHVlU2VnbWVudCwgQWx0dWEuRGF0YZEDZQUEAwW4A54DP0FsdHVhLkRhdGEuTnVtYmVyRm9ybWF0dGluZy5OdW1iZXJGb3JtYXRUZXh0U2VnbWVudCwgQWx0dWEuRGF0YZkDZwUEAS0JAaEDZQUEAwW8A6UDZwUEAS0JAakDZQUEAwXAA60DZwUEAS0JAbEDZQUEAwXEA7UDZwUEAS0JAbgDBQEByQNzvAMFAQHJA3PAAwUBAdEDc8QDBQEByQNzzgM5QWx0dWEuRGF0YS5OdW1iZXJGb3JtYXR0aW5nLk51bWJlclBsYWNlaG9sZGVyLCBBbHR1YS5EYXRhyQNzBQIwAAAA0QNzBQIwAAAA"/>
  <p:tag name="GRUNT-RENDERHASH" val="34c8843738251f517f46c35b4c086df2-svg"/>
  <p:tag name="GRUNT-X-SHAPEBOUNDS" val="ASIBBAAAACB+jIVAAAAAAJpBckAAAADArzltQAAAACASXFtAAA=="/>
  <p:tag name="GRUNT-X-PAGEOBJECT" val="AQUC7S0KOEFsdHVhLk9hay5Db3JlLkRvY3VtZW50TW9kZWwuQ2hhcnRPYmplY3QsIEFsdHVhLk9hay5Db3JlBQI1BBIEEMehmKeTYpZJq2Kt9F+v63kMEgQQDveEFzS3MEGVoXb4H5+AFxUNBCUUNRg9HFUgZSQSUEFsdHVhLk9hay5Db3JlLkRvY3VtZW50TW9kZWwuVGVtcGxhdGluZy5DdXN0b21Qb3NpdGlvbkRlZmluaXRpb24sIEFsdHVhLk9hay5Db3JlDQQkBCIBBAAAACB+joVAk02TyWYOc0C8dWyxryltQPQuGcmrdVRAFBMVKB0sNTA4AEU1DlU8XUBkAgVEGAQEAgVIHAIFTCALBVAMBW5iLU5PFVQkEAEBCQERARkBIQEpATEBOQAoFgQSBBAAAAAAAAAAAAAAAAAAAAAACAEsFgQSBBAAAAAAAAAAAAAAAAAAAAAACAEwADpHQWx0dWEuT2FrLkNvcmUuQ2hhcnQuQ2x1c3RlcmVkQmFyV2l0aExpbmVQbG90RGVmaW5pdGlvbiwgQWx0dWEuT2FrLkNvcmU1DjUEEgQQSR3aFZp/z0OwTAttsguX9B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AfgSJwS/+CTrKGeU13ILgcFYQCHBIEEBF5bi6YHOlPpT4SGa3b+1UkAC2IAjWNAkSMAUgEEgQQOa6hS2PnK1Gv94eZJj3pqAwSBBAfgSJwS/+CTrKGeU13ILgcFZQCHBIEEOjcGhWyCfxHkHpCy/xxYFskAC2YAjWNAkSQAUIBABgDJZwCKQAxAEAASAJVoAJdpAJkEgQQH4EicEv/gk6yhnlNdyC4HG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724f9818f6b14cd68f4c1120411ec00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RENDERHASH" val="d620c044053ed65a76a738c1d070e1a9-svg"/>
  <p:tag name="GRUNT-X-SHAPEBOUNDS" val="ASIBBAAAAGA6PXZAAAAAwLF9fEAAAABAmaZaQAAAAODCVzRAAA=="/>
  <p:tag name="GRUNT-X-PAGEOBJECT" val="AQUCswIKPkFsdHVhLk9hay5Db3JlLkRvY3VtZW50TW9kZWwuQ2hhcnRMZWdlbmRPYmplY3QsIEFsdHVhLk9hay5Db3JlBQI5BBIEEO1vcLCJZAFGqzjw8baRyP4UEgQQYJL/Y/T+ZEyY3zw46pnjUi0MNRBEAgUUSABVGQdlIG0kDAQEAgUoEAIFLBQCAQAeUEFsdHVhLk9hay5Db3JlLkRvY3VtZW50TW9kZWwuVGVtcGxhdGluZy5DdXN0b21Qb3NpdGlvbkRlZmluaXRpb24sIEFsdHVhLk9hay5Db3JlGQckBCIBBN3awWk6PXZAAAAAwLF9fEAoEkw0maZaQKCVT+vCVzRAIAsFMAwFbmItTk8VNCQEAQEJASgCAQAsADAKBAEsDAEgFAJrcjQJBAVuYi1OTwgB"/>
  <p:tag name="GRUNT-SYNC" val="e0e3184817a34defabc95bbb56d0490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RENDERHASH" val="9336b15632cf37762d2308a4019bca95-svg"/>
  <p:tag name="GRUNT-X-SHAPEBOUNDS" val="ASIBBAAAACB+joVAAAAAwLF9fEAAAABgfMVcQAAAAODCVzRAAA=="/>
  <p:tag name="GRUNT-X-PAGEOBJECT" val="AQUCswIKPkFsdHVhLk9hay5Db3JlLkRvY3VtZW50TW9kZWwuQ2hhcnRMZWdlbmRPYmplY3QsIEFsdHVhLk9hay5Db3JlBQI5BBIEEHiFGVIKMGNHqYPNpVxQAZUUEgQQSR3aFZp/z0OwTAttsguX9C0MNRBEAgUUSABVGQdlIG0kDAQEAgUoEAIFLBQCAQAeUEFsdHVhLk9hay5Db3JlLkRvY3VtZW50TW9kZWwuVGVtcGxhdGluZy5DdXN0b21Qb3NpdGlvbkRlZmluaXRpb24sIEFsdHVhLk9hay5Db3JlGQckBCIBBAAAACB+joVAAAAAwLF9fEDgZ5BlfMVcQKCVT+vCVzRAIAsFMAwFbmItTk8VNCQEAQEJASgCAQAsADAKBAEsDAEgFAJrcjQJBAVuYi1OTwgB"/>
  <p:tag name="GRUNT-SYNC" val="14769e672f2342a38f26df42c6114a1c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X-SHAPEBOUNDS" val="ASIBBAAAAGBwe0hAAAAAwLF9fEAAAABAmaZaQAAAAODCVzRAAA=="/>
  <p:tag name="GRUNT-RENDERHASH" val="de434da4bf431b3470d7a20f7dc16cbc-svg"/>
  <p:tag name="GRUNT-X-PAGEOBJECT" val="AQUCswIKPkFsdHVhLk9hay5Db3JlLkRvY3VtZW50TW9kZWwuQ2hhcnRMZWdlbmRPYmplY3QsIEFsdHVhLk9hay5Db3JlBQI5BBIEEL+cCTjosjdKu6jvV/tDbYYUEgQQLoISghVsSUqjm36s2krp/C0MNRBEAgUUSABVGQdlIG0kDAQEAgUoEAIFLBQCAQAeUEFsdHVhLk9hay5Db3JlLkRvY3VtZW50TW9kZWwuVGVtcGxhdGluZy5DdXN0b21Qb3NpdGlvbkRlZmluaXRpb24sIEFsdHVhLk9hay5Db3JlGQckBCIBBIBI729we0hAAAAAwLF9fEAoEkw0maZaQKCVT+vCVzRAIAsFMAwFbmItTk8VNCQEAQEJASgCAQAsADAKBAEsDAEgFAJrcjQJBAVuYi1OTwgB"/>
  <p:tag name="GRUNT-SYNC" val="7b2137ff09d64b4abed534d88f0fa2f8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04939fbb-a78e-4acf-9c33-e0ae85ac59a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mhoKN0FsdHVhLkRhdGEuRGF0YVNlcnZpY2VzLkVtYmVkZGVkRGF0YVNlcnZpY2UsIEFsdHVhLkRhdGEFAhkEEgQQN28/iivDbEeeeOpOxuAGBg0MJREFDAYFGAgSEAoWQUFsdHVhLkRhdGEuRGF0YVNlcnZpY2VzLkVtYmVkZGVkRGF0YVNlcnZpY2VFZGl0b3JEYXRhLCBBbHR1YS5EYXRhEQUEBRwNIBgGBSQNKBUsHB4dBBIEEB/rjDimIctLiTIXQgTfWDQLAAAAAAAgYkAgWh0EEgQQ6KtOsMwTTUOX+Kgfpyx9GQsAAAAAAAAyQB0EEgQQhB+R4huFNUGwuFZrPUlJDwsAAAAAAAAyQB0EEgQQ+SxZ/v3fb0W5/mfTI9KrIwsAAAAAAAAyQCQEMDQ4PCgFQERITFAsjQcsBCgEEgQQ2o0rEHtPmkyZRivzTi/4HAwSBBBfl5CXxFq7QpsQMAZxTsVZDVQsBCgEEgQQdZ6YkVxDK0eAjaDLHe+U4wwSBBBfl5CXxFq7QpsQMAZxTsVZDVgsBCgEEgQQ2o0rEHtPmkyZRivzTi/4HAwSBBA3BqPrKiz5RKDe31YszJPpDVwsBCgEEgQQM3YuVsqsz0O4n/jX90PyIgwSBBBfl5CXxFq7QpsQMAZxTsVZDWAsBCgEEgQQM3YuVsqsz0O4n/jX90PyIgwSBBD9SBrgRNX9R69Ti2+gyCCUDWQsBCgEEgQQH+uMOKYhy0uJMhdCBN9YNAwSBBC81ysq0vqwT63N7Kth/CL/DWgsBCgEEgQQH+uMOKYhy0uJMhdCBN9YNAwSBBBfl5CXxFq7QpsQMAZxTsVZDWwsBCgEEgQQH+uMOKYhy0uJMhdCBN9YNAwSBBDHwZTB2/ucQ4Iz45jqfkmrDXAsBCgEEgQQ2o0rEHtPmkyZRivzTi/4HAwSBBDHwZTB2/ucQ4Iz45jqfkmrDXQsBCgEEgQQM3YuVsqsz0O4n/jX90PyIgwSBBDHwZTB2/ucQ4Iz45jqfkmrDXgsBCgEEgQQM3YuVsqsz0O4n/jX90PyIgwSBBA3BqPrKiz5RKDe31YszJPpDXwtBCgEEgQQM3YuVsqsz0O4n/jX90PyIgwSBBC81ysq0vqwT63N7Kth/CL/DYABLQQoBBIEEHWemJFcQytHgI2gyx3vlOMMEgQQNwaj6yos+USg3t9WLMyT6Q2EAS0EKAQSBBAf64w4piHLS4kyF0IE31g0DBIEEP1IGuBE1f1Hr1OLb6DIIJQNiAEtBCgEEgQQH+uMOKYhy0uJMhdCBN9YNAwSBBA3BqPrKiz5RKDe31YszJPpDYwBLQQoBBIEEHWemJFcQytHgI2gyx3vlOMMEgQQx8GUwdv7nEOCM+OY6n5Jqw2QAS0EKAQSBBB1npiRXEMrR4CNoMsd75TjDBIEELzXKyrS+rBPrc3sq2H8Iv8NlAEtBCgEEgQQ2o0rEHtPmkyZRivzTi/4HAwSBBD9SBrgRNX9R69Ti2+gyCCUDZgBLQQoBBIEEHWemJFcQytHgI2gyx3vlOMMEgQQ/Uga4ETV/UevU4tvoMgglA2cAS0EKAQSBBDajSsQe0+aTJlGK/NOL/gcDBIEELzXKyrS+rBPrc3sq2H8Iv8NoAEwGgQSBBDajSsQe0+aTJlGK/NOL/gcDAJDMRkBNBoEEgQQH+uMOKYhy0uJMhdCBN9YNAwCQzIZATgaBBIEEHWemJFcQytHgI2gyx3vlOMMAkMzGQE8GgQSBBAzdi5WyqzPQ7if+Nf3Q/IiDAJDNBkBQBoEEgQQX5eQl8Rau0KbEDAGcU7FWQwCUjEZAUQaBBIEEDcGo+sqLPlEoN7fVizMk+kMAlI1GQFIGgQSBBDHwZTB2/ucQ4Iz45jqfkmrDAJSNxkBTBoEEgQQ/Uga4ETV/UevU4tvoMgglAwCUjgZAVAaBBIEELzXKyrS+rBPrc3sq2H8Iv8MAlI5GQFUBg2kARWoAVgGDaQBFawBXAYNsAEVtAFgBg2kARW4AWQGDbwBFcABaAYNvAEVxAFsBg2kARXIAXAGDcwBFdABdAYNzAEV1AF4Bg3MARXYAXwGDbABFdwBgAEGDbwBFeABhAEGDbABFeQBiAEGDbwBFegBjAEGDbABFewBkAEGDcwBFfABlAEGDbwBFfQBmAEGDbwBFfgBnAEGDbwBFfwBoAEGDbwBFYACpAECBACoAQUEAwWEAqwBBQQDBYgCsAECBAC0AQUEAwWMArgBBQQDBZACvAECBADAAQUEAwWUAsQBBQQDBZgCyAEFBAMFnALMAQIEANABBQQDBaAC1AEFBAMFpALYAQUEAwWoAtwBBQQDBawC4AEFBAMFsALkAQUEAwW0AugBBQQDBbgC7AEFBAMFvALwAQUEAwXAAvQBBQQDBcQC+AEFBAMFyAL8AQUEAwXMAoACBQQDBdAChAICAQCIAgUBAdUCVowCBQEB3QJWkAIFAQHhAlaUAgUBAeUCVpgCBQEB6QJWnAIFAQHtAlagAgUBAfECVqQCBQEB9QJWqAIFAQH5AlasAgUBAf0CVrACBQEBgQNWtAIFAQGFA1a4AgUBAYkDVrwCBQEBjQNWwAIFAQGRA1bEAgUBAZUDVsgCBQEBmQNWzAIFAQGdA1bQAgUBAaEDVtoCL0FsdHVhLkRhdGEuSW5mcmFzdHJ1Y3R1cmUuUGFyYWdyYXBoLCBBbHR1YS5EYXRh1QJWBQwDBaQD3QJWBQwDBagD4QJWBQwDBawD5QJWBQwDBbAD6QJWBQwDBbQD7QJWBQwDBbgD8QJWBQwDBbwD9QJWBQwDBcAD+QJWBQwDBcQD/QJWBQwDBcgDgQNWBQwDBcwDhQNWBQwDBdADiQNWBQwDBdQDjQNWBQwDBdgDkQNWBQwDBdwDlQNWBQwDBeADmQNWBQwDBeQDnQNWBQwDBegDoQNWBQwDBewDpAMFAQHxA32oAwUBAfkDfawDBQEB/QN9sAMGAQGBBIEBtAMGAQGJBIEBuAMFAQGNBH28AwYBAZEEgQHAAwUBAZUEfcQDBgEBmQSBAcgDBgEBnQSBAcwDBgEBoQSBAdADBgEBpQSBAdQDBgEBqQSBAdgDBgEBrQSBAdwDBgEBsQSBAeADBgEBtQSBAeQDBQEBuQR96AMGAQG9BIEB7AMFAQHBBH32Ay1BbHR1YS5EYXRhLkluZnJhc3RydWN0dXJlLlRleHRSdW4sIEFsdHVhLkRhdGHxA30JBAQyMDIzDcQE+QN9JAQfSSBsaXRlbiBlbGxlciBzdsOmcnQgbGl0ZW4gZ3JhZA3IBP0DfQkEBDIwMjQNxASGBC9BbHR1YS5EYXRhLkluZnJhc3RydWN0dXJlLk51bWJlclJ1biwgQWx0dWEuRGF0YYEEgQETBA4DK1cQkyuICUAdzQSUAQ3UBIkEgQETBA4DQHkN5TWUH0AdzQSUAQ3UBI0EfQkEBDIwMjEN2ASRBIEBEwQOA7OhvIbyGkFAHc0ElAEN1ASVBH0WBBFJIHZhcmllcmVuZGUgZ3JhZA3cBJkEgQETBA4DkvrORn1nR0AdzQSUAQ3UBJ0EgQETBA4DY6O+s1HfRkAdzQSUAQ3UBKEEgQETBA4DxOQKYnIFEUAdzQSUAQ3UBKUEgQETBA4DoYKXU/ByRkAdzQSUAQ3UBKkEgQETBA4D4FBeQ3kNJUAdzQSUAQ3UBK0EgQETBA4D9RrKayivR0AdzQSUAQ3UBLEEgQETBA4DYU7Byyl4R0AdzQSUAQ3UBLUEgQETBA4DJrycgpdT8D8dzQSUAQ3UBLkEfSIEHUkgc3bDpnJ0IHN0b3IgZWxsZXIgc3RvciBncmFkDeAEvQSBARMEDgMhSZIkSZIcQB3NBJQBDdQEwQR9DQQIVmV0IGlra2UN5ATEBBIEABwAJAAsADQAPABMAFQAXQDIBBIEABwAJAAsADQAPABMAFQAXQDSBD1BbHR1YS5EYXRhLk51bWJlckZvcm1hdHRpbmcuQ29tcG9zaXRlTnVtYmVyRm9ybWF0LCBBbHR1YS5EYXRhzQSUAQsd6AQl7AQ18AQ9ANQEEgQAHAAkACwANAA8AEwAVABdANgEEgQAHAAkACwANAA8AEwAVABdANwEEgQAHAAkACwANAA8AEwAVABdAOAEEgQAHAAkACwANAA8AEwAVABdAOQEEgQAHAAkACwANAA8AEwAVABdAOgECQAADAMF9AQRAOwECQAADAMF+AQRAPAECgQBLAwBLhQCa3L0BAYBAf0EoAH4BAoBAoUFogGNBaABggVCQWx0dWEuRGF0YS5OdW1iZXJGb3JtYXR0aW5nLk51bWJlckZvcm1hdEdlbmVyYWxTZWdtZW50LCBBbHR1YS5EYXRh/QSgAQCKBT9BbHR1YS5EYXRhLk51bWJlckZvcm1hdHRpbmcuTnVtYmVyRm9ybWF0VGV4dFNlZ21lbnQsIEFsdHVhLkRhdGGFBaIBBQQBLQkBjQWgAQA="/>
  <p:tag name="GRUNT-RENDERHASH" val="b1d5c11af3d71bcb7ab74b33dc8a12e7-svg"/>
  <p:tag name="GRUNT-X-SHAPEBOUNDS" val="ASIBBAAAAMAazDxAAAAAgE65bEAAAAAgjx2AQAAAAOAKsWxAAA=="/>
  <p:tag name="GRUNT-X-PAGEOBJECT" val="AQUC6EsKOEFsdHVhLk9hay5Db3JlLkRvY3VtZW50TW9kZWwuQ2hhcnRPYmplY3QsIEFsdHVhLk9hay5Db3JlBQI1BBIEEPMkZLbaenxCjqJAQcmY0igMEgQQN28/iivDbEeeeOpOxuAGBhUNBCUUNRg9HFUgZSQSUEFsdHVhLk9hay5Db3JlLkRvY3VtZW50TW9kZWwuVGVtcGxhdGluZy5DdXN0b21Qb3NpdGlvbkRlZmluaXRpb24sIEFsdHVhLk9hay5Db3JlDQQkBCIBBAAAAMAa7D5AJL/P1Mh7b0Ae0v88Hvd/QCTICMbDoWdAFBMVKB0sNTA4AEU1DlU8XUBkAgVEGAQEAgVIHAIFTCALBVAMBW5iLU5PFVQkEAEBCQERARkBIQEpATEBOQAoFgQSBBAAAAAAAAAAAAAAAAAAAAAACAEsFgQSBBAAAAAAAAAAAAAAAAAAAAAACAEwADo3QWx0dWEuT2FrLkNvcmUuQ2hhcnQuTGluZVBsb3REZWZpbml0aW9uLCBBbHR1YS5PYWsuQ29yZTUORgAACAQlWDwSBBCw+BDC2f/2SbsgeFI5zQk6RAIFXFVgWQFzAAAAAAAA8D98AgVkhQFpG5EBAJ0BcKUBdR6pAQC1AXy5AQA8BQWAAQ0AQAQBAAkARAoBBIQBiAGMAZABSAIBAEwAUAoEASwMASAUAmtyVAkEBW5iLU5PCAFYDQAACAEUAwWUARwAJQBcAgEAYCYEIgEEAAAAAAAAEEAAAAAAAAAQQAAAAAAAABBAAAAAAAAAEEAIBGQEAQGYAW5FQWx0dWEuT2FrLkNvcmUuUGxvdHRpbmcuQXV0b21hdGljQ2F0ZWdvcnlBeGlzU2V0dGluZ3MsIEFsdHVhLk9hay5Db3JlaRsTAQENnAEQABkBMAA9oAFFpAFIAXAGBakBKwgCej1BbHR1YS5PYWsuQ29yZS5UaGVtaW5nLlBhZ2VDb2xvclNjaGVtZVBvaW50ZXIsIEFsdHVhLk9hay5Db3JldR4AfEo1sAE9tAFFuAFVvAFdwAF1xAGNAcgBnQHMAaUB0AGtAdQBzQHYAdUB3AHdAeAB5QHkAe0B6AH1AewB/QHwAYUC9AGNAvgBlQL8AYABAIQBSAQSBBAwnZNhOiUaQrdFAAjOVZHIDBIEENp4nPv03S5EtCK1nOjcxogVgAIcEgQQNwaj6yos+USg3t9WLMyT6SQALYQCNYkCQ4gBSAQSBBCOrLlKYWYKSJ3mlOl2N764DBIEENp4nPv03S5EtCK1nOjcxogVkAIcEgQQx8GUwdv7nEOCM+OY6n5JqyQALZQCNZkCQ4wBSAQSBBDjLP1P2w12TIzbfiERWgAoDBIEENp4nPv03S5EtCK1nOjcxogVnAIcEgQQ/Uga4ETV/UevU4tvoMgglCQALaACNaUCQ5ABSAQSBBDofmU1FG+ESYbN+hBVGN2+DBIEENp4nPv03S5EtCK1nOjcxogVqAIcEgQQvNcrKtL6sE+tzeyrYfwi/yQALawCNaUCQ5QBAgEAmAFCAQEYAyWwAikAMQBAAEgCVbQCXbgCZBIEENp4nPv03S5EtCK1nOjcxohtvAJ1wAKNAcQCkQEBnQHIAqUBzAK1AdACnAECAQCgAQYF1QJWCASkAQYF3QJWCASuATpBbHR1YS5PYWsuQ29yZS5UaGVtaW5nLkJpbmRpbmdDb2xvclBvaW50ZXIsIEFsdHVhLk9hay5Db3JlqQErBAXhAlmwAQUEAwXoArQBBQQDBewCuAEFBAMF8AK8AQUEAwX0AsABBQQDBfgCxAEFBAMF/ALIAQUEAwWAA8wBBQQDBYQD0AEFBAMFiAPUAQUEAwWMA9gBBQQDBZAD3AEFBAMFlAPgAQUEAwWYA+QBBQQDBZwD6AEFBAMFoAPsAQUEAwWkA/ABBQQDBagD9AEFBAMFrAP4AQUEAwWwA/wBBQQDBbQDgAIFBbgDCAGEAgQFAAgBjgI+QWx0dWEuT2FrLkNvcmUuQ2hhcnQuRGVmYXVsdFBsb3RTZXJpZXNTZXR0aW5ncywgQWx0dWEuT2FrLkNvcmWJAkMAkAIFBbwDCAGUAgQFAAgBmQJDAJwCBQXAAwgBoAIEBQAIAaUCQwCoAgQFAAgBrAIEBQAIAbACCwMAAAAAAAAAAAgCtAILAwAAAAAAAAAACAG4AgsDAAAAAAAAAAAIAbwCFQXEAw3IAxXMAx3QAyXUAy3YAzXcA8ACBw3gAxXlA1bEAgsDAAAAAAAAAAAIBMgCBgXpA1YIBMwCBgXpA1YIBNACBQQDBewD2gIzQWx0dWEuT2FrLkNvcmUuVGhlbWluZy5Db2xvclBvaW50ZXIsIEFsdHVhLk9hay5Db3Jl1QJWUFBQ/90CVlBQUP/mAkhBbHR1YS5PYWsuQ29yZS5TeW50YXhTdHJ1Y3R1cmUuUGxvdFNlcmllc0JpbmRpbmdTdHJhdGVneSwgQWx0dWEuT2FrLkNvcmXhAlkA6AICAQDsAh4BDvAD9AP4A/wDgASEBIgEjASQBJQEmAScBKAEpATwAgQBAagE9AIMAQWsBLAEtAS4BLwE+AIKAQTABMQEyATMBPwCBAEB0ASAAwIBAIQDAgEAiAMYAQvUBNgE3ATgBOQE6ATsBPAE9AT4BPwEjAMCAQCQAxoBDIAFhAWIBYwFkAWUBZgFnAWgBaQFqAWsBZQDFgEKsAW0BbgFvAXABcQFyAXMBdAF1AWYAwIBAJwDBgEC2AXcBaADCAED4AXkBegFpAMCAQCoAwQBAewFrAMCAQCwAxgBC/AF9AX4BfwFgAaEBogGjAaQBpQGmAa0AwIBALgDBQQDBZwGvAMFBAMFoAbAAwUEAwWkBsQDBwQDBAEACATIAwUEAS4IBMwDBAABCATQAwQAAAgE1AMEBAAIBNgDBAQACATcAwQAAAgE4AMFBAMFqAblA1Y+PuX/6QNWUFBQ/+wDAgEA8AMOBa0GzAELAAAAAAAAAAD0Aw4FtQbOAQsAAAAAAADgP/gDDgW9BtABCwAAAAAAAOA//AMOBcUG0gELAAAAAAAA4D+ABA4FzQbUAQsAAAAAAAD4P4QEDgXVBtYBCwAAAAAAAOA/iAQOBd0G2AELAAAAAAAA4D+MBA4F5QbaAQsAAAAAAAAAAJAEDgXtBtwBCwAAAAAAABFAlAQOBfUG3AELAAAAAAAAEUCYBA4F+QbcAQsAAAAAAAARQJwEDgX9BtwBCwAAAAAAABFAoAQOBYEH3AELAAAAAAAAEUCkBA4FhQfiAQsAAAAAAAAAAKgECAWNB9IBDZAHrAQHBZUH5gEIAbAEBwWdB+YBCAG0BAcFoQfmAQgBuAQHBaUH5gEIAbwEBwWpB+YBCAHABA4FrQfmAQsAAAAAAAAgQMQEDgWxB+YBCwAAAAAAACBAyAQOBbUH5gELAAAAAAAAIEDMBA4FpQfmAQsAAAAAAAAgQNAEDgW5B+8BCwAAAAAAAAAA1AQJBcEH8QENyQcr2AQKBc0H1gEN0Qf1AdwECgXZB84BDd0H9QHgBAoF4QfQAQ3lB/UB5AQJBekH+wEN8QdW6AQKBfUH2AEN+Qf1AewECgX9B+YBDYEI9QHwBAoFhQjcAQ2JCPUB9AQJBY0I3AENkQhW+AQKBf0G3AENlQj1AfwECQWBB9wBDZkIVoAFBwWdCIgCCQCEBQcFpQiKAgkBiAUHBa0IjAIJAYwFBwW1CI4CCQGQBQcFvQiIAgkAlAUHBcEIkQIJAZgFBwXJCJMCCQCcBQcF0QiVAgkAoAUHBdkIkQIJAaQFBwXdCJECCQGoBQcF4QiRAgkBrAUHBeUIkQIJAbAFCgXpCJsCDfEInQK0BQoF+QifAg2BCaECuAUKBYkJiAINjQmkArwFCgWVCYoCDZkJpwLABQoFoQmMAg2ZCacCxAUKBaUJjgINqQmrAsgFCgWxCYgCDbUJrgLMBQoFvQmRAg3BCbEC0AUKBckJkQINzQmkAtQFCgXRCZECDdUJtgLYBQoF3QmTAg3hCbkC3AUKBekJuwIN8Qm5AuAFCgX1CbsCDfkJvwLkBQoFgQqRAg2FCr8C6AUKBYkKkQINjQq/AuwFCgWRCu8BDZUKxgLwBQoFnQqIAg2hCskC9AUKBakKywINsQrJAvgFCgW1CtYBDbkKyQL8BQoFvQqTAg3BCskCgAYKBcUKkQINyQrJAoQGCgXNCpECDdEKyQKIBgoF1QqRAg3ZCskCjAYKBd0K2AIN5QrJApAGCgXdCtgCDekKyQKUBgoF3QrYAg3tCskCmAYKBfEKkQIN9QrJApwGBgEB+QrfAqAGBgEBgQvfAqQGBgEBhQvfAqgGBAECAQSyBllBbHR1YS5PYWsuQ29yZS5Nb2RpZmljYXRpb24uU3R5bGluZy5WYWx1ZUF4aXNHcmlkbGluZXNDdXN0b21pemF0aW9uVGFyZ2V0LCBBbHR1YS5PYWsuQ29yZa0GzAEAugZTQWx0dWEuT2FrLkNvcmUuTW9kaWZpY2F0aW9uLlN0eWxpbmcuQ2F0ZWdvcnlBeGlzQ3VzdG9taXphdGlvblRhcmdldCwgQWx0dWEuT2FrLkNvcmW1Bs4BAMIGUEFsdHVhLk9hay5Db3JlLk1vZGlmaWNhdGlvbi5TdHlsaW5nLk9yaWdvTGluZUN1c3RvbWl6YXRpb25UYXJnZXQsIEFsdHVhLk9hay5Db3JlvQbQAQDKBl1BbHR1YS5PYWsuQ29yZS5Nb2RpZmljYXRpb24uU3R5bGluZy5BbGxDb25uZWN0b3JzQXV4aWxpYXJ5Q3VzdG9taXphdGlvblRhcmdldCwgQWx0dWEuT2FrLkNvcmXFBtIBANIGWUFsdHVhLk9hay5Db3JlLk1vZGlmaWNhdGlvbi5TdHlsaW5nLlNlcmllc1dpdGhQbG90S2luZEN1c3RvbWl6YXRpb25UYXJnZXQsIEFsdHVhLk9hay5Db3JlzQbUAQMFiAvaBlNBbHR1YS5PYWsuQ29yZS5Nb2RpZmljYXRpb24uU3R5bGluZy5BbGxWYWx1ZUF4aXNDdXN0b21pemF0aW9uVGFyZ2V0LCBBbHR1YS5PYWsuQ29yZdUG1gEA4gZbQWx0dWEuT2FrLkNvcmUuTW9kaWZpY2F0aW9uLlN0eWxpbmcuR3JpZGxpbmVGb3JEaXJlY3Rpb25DdXN0b21pemF0aW9uVGFyZ2V0LCBBbHR1YS5PYWsuQ29yZd0G2AECAQDqBlZBbHR1YS5PYWsuQ29yZS5Nb2RpZmljYXRpb24uU3R5bGluZy5TaW5nbGVWYWx1ZUF4aXNDdXN0b21pemF0aW9uVGFyZ2V0LCBBbHR1YS5PYWsuQ29yZeUG2gEUBBIEENp4nPv03S5EtCK1nOjcxojyBk1BbHR1YS5PYWsuQ29yZS5Nb2RpZmljYXRpb24uU3R5bGluZy5TZXJpZXNDdXN0b21pemF0aW9uVGFyZ2V0LCBBbHR1YS5PYWsuQ29yZe0G3AEUBBIEEDCdk2E6JRpCt0UACM5Vkcj1BtwBFAQSBBDeEv+gt+OZUY2Brka6081V+QbcARQEEgQQjqy5SmFmCkid5pTpdje+uP0G3AEUBBIEEOMs/U/bDXZMjNt+IRFaACiBB9wBFAQSBBDofmU1FG+ESYbN+hBVGN2+igdcQWx0dWEuT2FrLkNvcmUuTW9kaWZpY2F0aW9uLlN0eWxpbmcuT3JpZ29MaW5lRm9yRGlyZWN0aW9uQ3VzdG9taXphdGlvblRhcmdldCwgQWx0dWEuT2FrLkNvcmWFB+IBAgEBjQfSAQCQBwUMAwWMC5oHU0FsdHVhLk9hay5Db3JlLk1vZGlmaWNhdGlvbi5TdHlsaW5nLlNlcmllc01hcmtlckN1c3RvbWl6YXRpb25UYXJnZXQsIEFsdHVhLk9hay5Db3JllQfmARQEEgQQ3hL/oLfjmVGNga5GutPNVZ0H5gEUBBIEEDCdk2E6JRpCt0UACM5VkcihB+YBFAQSBBCOrLlKYWYKSJ3mlOl2N764pQfmARQEEgQQ4yz9T9sNdkyM234hEVoAKKkH5gEUBBIEEOh+ZTUUb4RJhs36EFUY3b6tB+YBFAQSBBAwnZNhOiUaQrdFAAjOVZHIsQfmARQEEgQQ3hL/oLfjmVGNga5GutPNVbUH5gEUBBIEEI6suUphZgpIneaU6XY3vri+B15BbHR1YS5PYWsuQ29yZS5Nb2RpZmljYXRpb24uU3R5bGluZy5BbGxDYXRlZ29yeUxhYmVsT2ZMZXZlbEN1c3RvbWl6YXRpb25UYXJnZXQsIEFsdHVhLk9hay5Db3JluQfvAQUNkQvlAsYHVkFsdHVhLk9hay5Db3JlLk1vZGlmaWNhdGlvbi5TdHlsaW5nLkFsbFNlcmllc01hcmtlckN1c3RvbWl6YXRpb25UYXJnZXQsIEFsdHVhLk9hay5Db3JlwQfxAQDJBysEBZkLWc0H1gEA1gc3QWx0dWEuT2FrLkNvcmUuVGhlbWluZy5QYWdlQ29sb3JQb2ludGVyLCBBbHR1YS5PYWsuQ29yZdEH9QEEAAAIANkHzgEA3Qf1AQQAAAgA4QfQAQDlB/UBBAAACADuB1NBbHR1YS5PYWsuQ29yZS5Nb2RpZmljYXRpb24uU3R5bGluZy5BbGxHcmlkbGluZXNDdXN0b21pemF0aW9uVGFyZ2V0LCBBbHR1YS5PYWsuQ29yZekH+wEA8QdWgICA//UH2AECAQD5B/UBBAABCAL9B+YBFAQSBBDeEv+gt+OZUY2Brka6081VgQj1AQQABQgAhQjcARQEEgQQ3hL/oLfjmVGNga5GutPNVYkI9QEEAAUIAI0I3AEUBBIEEDCdk2E6JRpCt0UACM5VkciRCFb/oS//lQj1AQQABwgDmQhWAADA/6IIWEFsdHVhLk9hay5Db3JlLk1vZGlmaWNhdGlvbi5TdHlsaW5nLlNlcmllc0xhYmVsT2ZUeXBlQ3VzdG9taXphdGlvblRhcmdldCwgQWx0dWEuT2FrLkNvcmWdCIgCAgAAqghYQWx0dWEuT2FrLkNvcmUuTW9kaWZpY2F0aW9uLlN0eWxpbmcuQWxsVmFsdWVBeGlzTGFiZWxDdXN0b21pemF0aW9uVGFyZ2V0LCBBbHR1YS5PYWsuQ29yZaUIigIAsghXQWx0dWEuT2FrLkNvcmUuTW9kaWZpY2F0aW9uLlN0eWxpbmcuQWxsQ2F0ZWdvcnlMYWJlbEN1c3RvbWl6YXRpb25UYXJnZXQsIEFsdHVhLk9hay5Db3JlrQiMAgC6CFhBbHR1YS5PYWsuQ29yZS5Nb2RpZmljYXRpb24uU3R5bGluZy5BbGxBdXhpbGlhcnlMYWJlbEN1c3RvbWl6YXRpb25UYXJnZXQsIEFsdHVhLk9hay5Db3JltQiOAgC9CIgCAgACxghSQWx0dWEuT2FrLkNvcmUuTW9kaWZpY2F0aW9uLlN0eWxpbmcuU2VyaWVzTGFiZWxDdXN0b21pemF0aW9uVGFyZ2V0LCBBbHR1YS5PYWsuQ29yZcEIkQIWBBIEEN4S/6C345lRjYGuRrrTzVUIAM4IVUFsdHVhLk9hay5Db3JlLk1vZGlmaWNhdGlvbi5TdHlsaW5nLlZhbHVlQXhpc0xhYmVsQ3VzdG9taXphdGlvblRhcmdldCwgQWx0dWEuT2FrLkNvcmXJCJMCFAQSBBDaeJz79N0uRLQitZzo3MaI1ghaQWx0dWEuT2FrLkNvcmUuTW9kaWZpY2F0aW9uLlN0eWxpbmcuVmFsdWVBeGlzVGl0bGVMYWJlbEN1c3RvbWl6YXRpb25UYXJnZXQsIEFsdHVhLk9hay5Db3Jl0QiVAhQEEgQQ2nic+/TdLkS0IrWc6NzGiNkIkQIWBBIEEI6suUphZgpIneaU6XY3vrgIAN0IkQIWBBIEEDCdk2E6JRpCt0UACM5VkcgIAOEIkQIWBBIEEOMs/U/bDXZMjNt+IRFaACgIAOUIkQIWBBIEEOh+ZTUUb4RJhs36EFUY3b4IAO4IWEFsdHVhLk9hay5Db3JlLk1vZGlmaWNhdGlvbi5TdHlsaW5nLkNhdGVnb3J5QXhpc1RpdGxlQ3VzdG9taXphdGlvblRhcmdldCwgQWx0dWEuT2FrLkNvcmXpCJsCAPYIRkFsdHVhLk9hay5Db3JlLlBsb3R0aW5nLkF4aXNUaXRsZUxhYmVsUGxhY2VtZW50T3V0c2lkZSwgQWx0dWEuT2FrLkNvcmXxCJ0CAgAB/ghdQWx0dWEuT2FrLkNvcmUuTW9kaWZpY2F0aW9uLlN0eWxpbmcuQWxsVmFsdWVBeGlzVGl0bGVMYWJlbEN1c3RvbWl6YXRpb25UYXJnZXQsIEFsdHVhLk9hay5Db3Jl+QifAgCGCUJBbHR1YS5PYWsuQ29yZS5QbG90dGluZy5BeGlzVGl0bGVMYWJlbFBsYWNlbWVudEZhciwgQWx0dWEuT2FrLkNvcmWBCaECAgAAiQmIAgIAAJIJQEFsdHVhLk9hay5Db3JlLlBsb3R0aW5nLkxhYmVsUGxhY2VtZW50UG9pbnRPdXRlciwgQWx0dWEuT2FrLkNvcmWNCaQCAJUJigIAnglBQWx0dWEuT2FrLkNvcmUuUGxvdHRpbmcuQXhpc0xhYmVsUGxhY2VtZW50T3V0c2lkZSwgQWx0dWEuT2FrLkNvcmWZCacCAgEAoQmMAgClCY4CAK4JRkFsdHVhLk9hay5Db3JlLlBsb3R0aW5nLkF1eGlsaWFyeUxhYmVsUGxhY2VtZW50RGVmYXVsdCwgQWx0dWEuT2FrLkNvcmWpCasCALEJiAICAAK6CUNBbHR1YS5PYWsuQ29yZS5QbG90dGluZy5MYWJlbFBsYWNlbWVudFNlcmllc091dHNpZGUsIEFsdHVhLk9hay5Db3JltQmuAgIAAb0JkQIWBBIEEI6suUphZgpIneaU6XY3vrgIAMYJREFsdHVhLk9hay5Db3JlLlBsb3R0aW5nLkxhYmVsUGxhY2VtZW50TWFudWFsUmVsYXRpdmUsIEFsdHVhLk9hay5Db3JlwQmxAhQEEgECgEfMm7mdDECAdoe47/kqwMkJkQIWBBIEEDCdk2E6JRpCt0UACM5VkcgIAM0JpAIA0QmRAhYEEgQQ6H5lNRRvhEmGzfoQVRjdvggA2glAQWx0dWEuT2FrLkNvcmUuUGxvdHRpbmcuTGFiZWxQbGFjZW1lbnRQb2ludElubmVyLCBBbHR1YS5PYWsuQ29yZdUJtgIA3QmTAhQEEgQQ2nic+/TdLkS0IrWc6NzGiOYJQkFsdHVhLk9hay5Db3JlLlN5bnRheFN0cnVjdHVyZS5BY3R1YWxGb250U2l6ZVZhbHVlLCBBbHR1YS5PYWsuQ29yZeEJuQIJAwAAAAAAACpA7glQQWx0dWEuT2FrLkNvcmUuTW9kaWZpY2F0aW9uLlN0eWxpbmcuQWxsTGFiZWxzQ3VzdG9taXphdGlvblRhcmdldCwgQWx0dWEuT2FrLkNvcmXpCbsCAPEJuQIJAwAAAAAAAChA9Qm7AgD+CUNBbHR1YS5PYWsuQ29yZS5TeW50YXhTdHJ1Y3R1cmUuQWN0dWFsRm9udENvbG9yVmFsdWUsIEFsdHVhLk9hay5Db3Jl+Qm/AgUFnQvoAoEKkQIWBBIEEN4S/6C345lRjYGuRrrTzVUIAIUKvwIFBaUL9QGJCpECFgQSBBAwnZNhOiUaQrdFAAjOVZHICACNCr8CBAWpC1aRCu8BBQ2tC+UCmgpDQWx0dWEuT2FrLkNvcmUuU3ludGF4U3RydWN0dXJlLkFjdHVhbEZvbnRTdHlsZVZhbHVlLCBBbHR1YS5PYWsuQ29yZZUKxgICAACdCogCAgAApgpGQWx0dWEuT2FrLkNvcmUuU3ludGF4U3RydWN0dXJlLkFjdHVhbE51bWJlckZvcm1hdFZhbHVlLCBBbHR1YS5PYWsuQ29yZaEKyQIFBbEL7QKuClVBbHR1YS5PYWsuQ29yZS5Nb2RpZmljYXRpb24uU3R5bGluZy5BbGxUb3RhbExhYmVsc0N1c3RvbWl6YXRpb25UYXJnZXQsIEFsdHVhLk9hay5Db3JlqQrLAgCxCskCBQWxC+0CtQrWAQC5CskCBQWxC+0CvQqTAhQEEgQQ2nic+/TdLkS0IrWc6NzGiMEKyQIFBbkL7QLFCpECFgQSBBDeEv+gt+OZUY2Brka6081VCADJCskCBQW5C+0CzQqRAhYEEgQQMJ2TYTolGkK3RQAIzlWRyAgA0QrJAgUFuQvtAtUKkQIWBBIEEI6suUphZgpIneaU6XY3vrgIANkKyQIFBb0L7QLiClBBbHR1YS5PYWsuQ29yZS5Nb2RpZmljYXRpb24uU3R5bGluZy5Db21wb3NpdGVDdXN0b21pemF0aW9uVGFyZ2V0LCBBbHR1YS5PYWsuQ29yZd0K2AIFBAMFwAvlCskCBQXFC+0C6QrJAgUFyQvtAu0KyQIFBc0L7QLxCpECFgQSBBDjLP1P2w12TIzbfiERWgAoCAD1CskCBQXRC+0C/govQWx0dWEuRGF0YS5JbmZyYXN0cnVjdHVyZS5QYXJhZ3JhcGgsIEFsdHVhLkRhdGH5Ct8CBQwDBdQLgQvfAgUMAwXYC4UL3wIFDAMF3AuICwEFjAsKAQIAAIBAAABAQJYLOUFsdHVhLk9hay5Db3JlLlBsb3R0aW5nLkNhdGVnb3J5QXhpc0xldmVsLCBBbHR1YS5PYWsuQ29yZZEL5QIAmQtZAKILP0FsdHVhLk9hay5Db3JlLlRoZW1pbmcuSGlnaENvbnRyYXN0Q29sb3JQb2ludGVyLCBBbHR1YS5PYWsuQ29yZZ0L6AIApQv1AQQAAAgAqQtWpFoA/60L5QIAtgs9QWx0dWEuRGF0YS5OdW1iZXJGb3JtYXR0aW5nLkNvbXBvc2l0ZU51bWJlckZvcm1hdCwgQWx0dWEuRGF0YbEL7QIKHeALJeQLNVA9ALkL7QILHegLJewLNfALPQC9C+0CCx30CyX4CzX8Cz0AwAsGAQGBDJECxQvtAgsdhAwliAw1jAw9AMkL7QIKHZAMJZQMNVA9AM0L7QIKHZgMJZwMNVA9ANEL7QIKHaAMJaQMNVA9ANQLBgEBqQyLA9gLBgEBsQyLA9wLBgEBtQyLA+ALDQD6////DwwDBbgMEQDkCw0A+v///w8MAwW8DBEA6AsJAAAMAwXADBEB7AsJAAAMAwXEDBEB8AsKBAEsDAEuFAJrcvQLCQAADAMFyAwRAfgLCQAADAMFzAwRAfwLCgQBLAwBLhQCa3KBDJECFgQSBBDofmU1FG+ESYbN+hBVGN2+CACEDAkAAAwDBdAMEQCIDAkAAAwDBdQMEQCMDAoEASwMASAUAmtykAwJAAAMAwXYDBEAlAwJAAAMAwXcDBEAmAwJAAAMAwXgDBEAnAwJAAAMAwXkDBEAoAwJAAAMAwXoDBEApAwJAAAMAwXsDBEArgwtQWx0dWEuRGF0YS5JbmZyYXN0cnVjdHVyZS5UZXh0UnVuLCBBbHR1YS5EYXRhqQyLAyQEH0kgbGl0ZW4gZWxsZXIgc3bDpnJ0IGxpdGVuIGdyYWQN8AyxDIsDFgQRSSB2YXJpZXJlbmRlIGdyYWQN9Ay1DIsDIgQdSSBzdsOmcnQgc3RvciBlbGxlciBzdG9yIGdyYWQN+Ay4DAYBAf0MoAO8DAoBAoUNogONDaADwAwGAQGRDaUDxAwKAQKZDaIDkQ2lA8gMBgEBnQ2lA8wMCgECoQ2iA50NpQPQDAYBAaUNpQPUDAoBAqkNogOtDaUD2AwGAQGxDaUD3AwKAQKpDaIDtQ2lA+AMBgEBuQ2lA+QMCgECqQ2iA70NpQPoDAYBAcENpQPsDAoBAsUNogPJDaUD8AwSBAAcACQALAA0ADwATABUAF0A9AwSBAAcACQALAA0ADwATABUAF0A+AwSBAAcACQALAA0ADwATABUAF0Agg1CQWx0dWEuRGF0YS5OdW1iZXJGb3JtYXR0aW5nLk51bWJlckZvcm1hdEdlbmVyYWxTZWdtZW50LCBBbHR1YS5EYXRh/QygAwCKDT9BbHR1YS5EYXRhLk51bWJlckZvcm1hdHRpbmcuTnVtYmVyRm9ybWF0VGV4dFNlZ21lbnQsIEFsdHVhLkRhdGGFDaIDBQQBLQkBjQ2gAwCWDUBBbHR1YS5EYXRhLk51bWJlckZvcm1hdHRpbmcuTnVtYmVyRm9ybWF0VmFsdWVTZWdtZW50LCBBbHR1YS5EYXRhkQ2lAwUEAwXMDZkNogMFBAEtCQGdDaUDBQQDBdANoQ2iAwUEAS0JAaUNpQMFBAMF1A2pDaIDBQQBLQkBrQ2lAwUEAwXYDbENpQMFBAMF3A21DaUDBQQDBeANuQ2lAwUEAwXkDb0NpQMFBAMF6A3BDaUDBQQDBewNxQ2iAwUEAS0JAckNpQMFBAMF8A3MDRIBBPUNvgP1Db4D9Q2+A/0NvgPQDRIBBIEOvgOBDr4DgQ6+A4UOvgPUDRIBBIkOvgONDsQDiQ6+A4kOvgPYDRIBBIkOvgONDsQDiQ6+A4kOvgPcDQ4BA4kOvgONDsQDiQ6+A+ANDgEDiQ6+A40OxAOJDr4D5A0GAQGJDr4D6A0GAQGJDr4D7A0GAQGJDr4D8A0GAQGJDr4D+g05QWx0dWEuRGF0YS5OdW1iZXJGb3JtYXR0aW5nLk51bWJlclBsYWNlaG9sZGVyLCBBbHR1YS5EYXRh9Q2+AwUCAAAAAP0NvgMFAjAAAACBDr4DBQIAAAAAhQ6+AwUCMAAAAIkOvgMFAjAAAACSDj9BbHR1YS5EYXRhLk51bWJlckZvcm1hdHRpbmcuRGVjaW1hbFBvaW50UGxhY2Vob2xkZXIsIEFsdHVhLkRhdGGNDsQDAA=="/>
  <p:tag name="GRUNT-SYNC" val="fb343fd63b4f48dbb6f0b591c42b8e38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53009bf3-e148-4588-a612-e40f94985596"/>
  <p:tag name="GRUNT-X-RESOURCES" val="AQIFBAQEAgEA"/>
  <p:tag name="GRUNT-VERSION" val="20.24.1.0"/>
  <p:tag name="GRUNT-VERSION-2" val="2024.1-r2-4069"/>
  <p:tag name="GRUNT-SYNC" val="f95fdd0936164bfca5336e31188b70ca"/>
  <p:tag name="GRUNT-X-PAGEOBJECT" val="AQUCswIKPkFsdHVhLk9hay5Db3JlLkRvY3VtZW50TW9kZWwuQ2hhcnRMZWdlbmRPYmplY3QsIEFsdHVhLk9hay5Db3JlBQI5BBIEEPObAFNI4YhFphLkD5SYVZYUEgQQsPgQwtn/9km7IHhSOc0JOi0MNRBEAgUUSABVGQdlIG0kDAQEAgUoEAIFLBQCAQAeUEFsdHVhLk9hay5Db3JlLkRvY3VtZW50TW9kZWwuVGVtcGxhdGluZy5DdXN0b21Qb3NpdGlvbkRlZmluaXRpb24sIEFsdHVhLk9hay5Db3JlGQckBCIBBAAAAKBAqUJAMjMzMzNzYECEDbKWXTWCQAAAAAAAAFdAIAsFMAwFbmItTk8VNCQEAQEJASgCAQAsADAKBAEsDAEgFAJrcjQJBAVuYi1OTwgB"/>
  <p:tag name="GRUNT-X-SHAPEBOUNDS" val="ASIBBAAAAKBAqUJAAAAAQDNzYEAAAACgXTWCQAAAAAAAAFdAAA=="/>
  <p:tag name="GRUNT-RENDERHASH" val="2b0dc912e36fdef147de1fefc2c2a6f9-s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qxUKN0FsdHVhLkRhdGEuRGF0YVNlcnZpY2VzLkVtYmVkZGVkRGF0YVNlcnZpY2UsIEFsdHVhLkRhdGEFAhkEEgQQAqVsZSyoF0uQZHFAShZcbQ0MJREFDAYFGAgUEAoWQUFsdHVhLkRhdGEuRGF0YVNlcnZpY2VzLkVtYmVkZGVkRGF0YVNlcnZpY2VFZGl0b3JEYXRhLCBBbHR1YS5EYXRhEQUEBRwNIBgGBSQNKBUsHDwdBBIEENNz8cQb9wFOoDLwDWItJDkLAAAAAAAAHEAdBBIEEB/rjDimIctLiTIXQgTfWDQLAAAAAAAgYkAglgEdBBIEEAW3udO3DvRJkWQYTUZuRawLAAAAAAAAMkAdBBIEEBF5bi6YHOlPpT4SGa3b+1ULAAAAAAAAMkAdBBIEEIQfkeIbhTVBsLhWaz1JSQ8LAAAAAAAAMkAdBBIEEPksWf79329Fuf5n0yPSqyMLAAAAAAAAMkAdBBIEEKTBruNnE2hCqBmPMX5a7skLAAAAAAAAMkAkBTA0ODxAKAJESCzCAywEKAQSBBDajSsQe0+aTJlGK/NOL/gcDBIEEF+XkJfEWrtCmxAwBnFOxVkNTCwEKAQSBBB1npiRXEMrR4CNoMsd75TjDBIEEF+XkJfEWrtCmxAwBnFOxVkNUCwEKAQSBBAf64w4piHLS4kyF0IE31g0DBIEEOjcGhWyCfxHkHpCy/xxYFsNVCwEKAQSBBDiZ4LqncAVT7eeYK508WqGDBIEEF+XkJfEWrtCmxAwBnFOxVkNWCwEKAQSBBAf64w4piHLS4kyF0IE31g0DBIEEF+XkJfEWrtCmxAwBnFOxVkNXCwEKAQSBBD3DW6nGDeySJvO+xOVXgd1DBIEEF+XkJfEWrtCmxAwBnFOxVkNYCwEKAQSBBD3DW6nGDeySJvO+xOVXgd1DBIEEOjcGhWyCfxHkHpCy/xxYFsNZCwEKAQSBBDiZ4LqncAVT7eeYK508WqGDBIEEOjcGhWyCfxHkHpCy/xxYFsNaCwEKAQSBBDajSsQe0+aTJlGK/NOL/gcDBIEEOjcGhWyCfxHkHpCy/xxYFsNbCwEKAQSBBB1npiRXEMrR4CNoMsd75TjDBIEEOjcGhWyCfxHkHpCy/xxYFsNcDAaBBIEENqNKxB7T5pMmUYr804v+BwMAkMxGQE0GgQSBBAf64w4piHLS4kyF0IE31g0DAJDMhkBOBoEEgQQdZ6YkVxDK0eAjaDLHe+U4wwCQzMZATwbBBIEEPcNbqcYN7JIm877E5VeB3UMA0MxOBkBQBsEEgQQ4meC6p3AFU+3nmCudPFqhgwDQzE5GQFEGgQSBBBfl5CXxFq7QpsQMAZxTsVZDAJSMRkBSBoEEgQQ6NwaFbIJ/EeQekLL/HFgWwwCUjIZAUwEDXQVeFAEDXQVfFQFDXQVgAFYBg2EARWIAVwFDXQVjAFgBg2EARWQAWQGDYQBFZQBaAYNhAEVmAFsBQ10FZwBcAUNdBWgAXQCBAB4BQQDBaQBfAUEAwWoAYABBQQDBawBhAECBACIAQUEAwWwAYwBBQQDBbQBkAEFBAMFuAGUAQUEAwW8AZgBBQQDBcABnAEFBAMFxAGgAQUEAwXIAaQBAgEAqAEFAQHNATSsAQUBAdUBNLABBQEB2QE0tAEFAQHdATS4AQUBAeEBNLwBBQEB5QE0wAEFAQHpATTEAQUBAe0BNMgBBQEB8QE00gEvQWx0dWEuRGF0YS5JbmZyYXN0cnVjdHVyZS5QYXJhZ3JhcGgsIEFsdHVhLkRhdGHNATQFDAMF9AHVATQFDAMF+AHZATQFDAMF/AHdATQFDAMFgALhATQFDAMFhALlATQFDAMFiALpATQFDAMFjALtATQFDAMFkALxATQFDAMFlAL0AQUBAZkCR/gBBQEBoQJJ/AEFAQGpAkeAAgUBAa0CR4QCBQEBsQJHiAIFAQG1AkmMAgUBAbkCSZACBQEBvQJJlAIFAQHBAkmeAi1BbHR1YS5EYXRhLkluZnJhc3RydWN0dXJlLlRleHRSdW4sIEFsdHVhLkRhdGGZAkcUBA9UcsO4bmRlbGFnIFPDuHINxAKmAi9BbHR1YS5EYXRhLkluZnJhc3RydWN0dXJlLk51bWJlclJ1biwgQWx0dWEuRGF0YaECSRIEDQMAAAAAAIBGQB3JAlMN0AKpAkcKBAVOb3JnZQ3UAq0CRxQED1Ryw7huZGVsYWcgTm9yZA3YArECRxUEEE3DuHJlIG9nIFJvbXNkYWwNxAK1AkkSBA0DAAAAAAAAP0Ad3QJTDeACuQJJEgQNAwAAAAAAAEhAHeUCUw3oAr0CSRIEDQMAAAAAAKCfQB3tAlMN8ALBAkkSBA0DAAAAAAAAUUAd9QJTDfgCxAISBAAcACQALAA0ADwATABUAF0AzgI9QWx0dWEuRGF0YS5OdW1iZXJGb3JtYXR0aW5nLkNvbXBvc2l0ZU51bWJlckZvcm1hdCwgQWx0dWEuRGF0YckCUwsd/AIlgAM1hAM9ANACEgQAHAAkACwANAA8AEwAVABdANQCEgQAHAAkACwANAA8AEwAVABdANgCEgQAHAAkACwANAA8AEwAVABdAN0CUwsdiAMljAM1kAM9AOACEgQAHAAkACwANAA8AEwAVABdAOUCUwsdlAMlmAM1nAM9AOgCEgQAHAAkACwANAA8AEwAVABdAO0CUwsdoAMlpAM1qAM9APACEgQAHAAkACwANAA8AEwAVABdAPUCUwsdrAMlsAM1tAM9APgCEgQAHAAkACwANAA8AEwAVABdAPwCCQAADAMFuAMRAIADCQAADAMFvAMRAIQDCgQBLAwBLhQCa3KIAwkAAAwDBcADEQCMAwkAAAwDBcQDEQCQAwoEASwMAS4UAmtylAMJAAAMAwXIAxEAmAMJAAAMAwXMAxEAnAMKBAEsDAEuFAJrcqADCQAADAMF0AMRAKQDCQAADAMF1AMRAKgDCgQBLAwBLhQCa3KsAwkAAAwDBdgDEQCwAwkAAAwDBdwDEQC0AwoEASwMAS4UAmtyuAMFAQHhA3m8AwgBAukDe+EDecADBQEB8QN5xAMIAQL1A3vxA3nIAwUBAfkDecwDCAEC/QN7+QN50AMFAQGBBHnUAwgBAoUEe4EEedgDBQEBiQR53AMIAQKNBHuJBHnmA0BBbHR1YS5EYXRhLk51bWJlckZvcm1hdHRpbmcuTnVtYmVyRm9ybWF0VmFsdWVTZWdtZW50LCBBbHR1YS5EYXRh4QN5BQQDBZAE7gM/QWx0dWEuRGF0YS5OdW1iZXJGb3JtYXR0aW5nLk51bWJlckZvcm1hdFRleHRTZWdtZW50LCBBbHR1YS5EYXRh6QN7BQQBLQkB8QN5BQQDBZQE9QN7BQQBLQkB+QN5BQQDBZgE/QN7BQQBLQkBgQR5BQQDBZwEhQR7BQQBLQkBiQR5BQQDBaAEjQR7BQQBLQkBkAQGAQGlBIoBlAQGAQGlBIoBmAQGAQGlBIoBnAQGAQGtBIoBoAQGAQGxBIoBqgQ5QWx0dWEuRGF0YS5OdW1iZXJGb3JtYXR0aW5nLk51bWJlclBsYWNlaG9sZGVyLCBBbHR1YS5EYXRhpQSKAQUCMAAAAK0EigEFAjAAAACxBIoBBQIwAAAA"/>
  <p:tag name="GRUNT-RENDERHASH" val="14aa042975e95a8c6edf1a0dd6a8feb7-svg"/>
  <p:tag name="GRUNT-X-SHAPEBOUNDS" val="ASIBBAAAAMABpIJAAAAAQC/ibUAAAABgJdtxQAAAAMA48mZAAA=="/>
  <p:tag name="GRUNT-X-PAGEOBJECT" val="AQUC7S0KOEFsdHVhLk9hay5Db3JlLkRvY3VtZW50TW9kZWwuQ2hhcnRPYmplY3QsIEFsdHVhLk9hay5Db3JlBQI1BBIEEJV9h7Z5yEJGqXamTekq81YMEgQQAqVsZSyoF0uQZHFAShZcbRUNBCUUNRg9HFUgZSQSUEFsdHVhLk9hay5Db3JlLkRvY3VtZW50TW9kZWwuVGVtcGxhdGluZy5DdXN0b21Qb3NpdGlvbkRlZmluaXRpb24sIEFsdHVhLk9hay5Db3JlDQQkBCIBBLxW2bABpoJAJL/P1Mh7b0AwcDVYJdNxQCyOfOxrJWJAFBMVKB0sNTA4AEU1DlU8XUBkAgVEGAQEAgVIHAIFTCALBVAMBW5iLU5PFVQkEAEBCQERARkBIQEpATEBOQAoFgQSBBAAAAAAAAAAAAAAAAAAAAAACAEsFgQSBBAAAAAAAAAAAAAAAAAAAAAACAEwADpHQWx0dWEuT2FrLkNvcmUuQ2hhcnQuQ2x1c3RlcmVkQmFyV2l0aExpbmVQbG90RGVmaW5pdGlvbiwgQWx0dWEuT2FrLkNvcmU1DjUEEgQQBGFLWWHSIUWVTSF2iUvTL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C6vzbY+d1kT7ZsQGxkpNqMFYQCHBIEEBF5bi6YHOlPpT4SGa3b+1UkAC2IAjWNAkSMAUgEEgQQOa6hS2PnK1Gv94eZJj3pqAwSBBC6vzbY+d1kT7ZsQGxkpNqMFZQCHBIEEOjcGhWyCfxHkHpCy/xxYFskAC2YAjWNAkSQAUIBABgDJZwCKQAxAEAASAJVoAJdpAJkEgQQur822PndZE+2bEBsZKTajG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f20fcce5947a4cd3816eef1eb28c8c5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f26c41fe-75fd-4725-b439-8a2fe2a329cc"/>
  <p:tag name="GRUNT-X-RESOURCES" val="AQIFBAQEAgEA"/>
  <p:tag name="GRUNT-X-SHAPEBOUNDS" val="ASIBBAAAAOB4wFBAAAAAgHJoYkAAAACA/39iQAAAAOAYTjpAAA=="/>
  <p:tag name="GRUNT-X-PAGEOBJECT" val="AQUCswIKPkFsdHVhLk9hay5Db3JlLkRvY3VtZW50TW9kZWwuQ2hhcnRMZWdlbmRPYmplY3QsIEFsdHVhLk9hay5Db3JlBQI5BBIEEP5BbPL9dSVHtDmKL+KjKcwUEgQQJl58HMIX6UmyuF2nX5n3jC0MNRBEAgUUSABVGQdlIG0kDAQEAgUoEAIFLBQCAQAeUEFsdHVhLk9hay5Db3JlLkRvY3VtZW50TW9kZWwuVGVtcGxhdGluZy5DdXN0b21Qb3NpdGlvbkRlZmluaXRpb24sIEFsdHVhLk9hay5Db3JlGQckBCIBBEhj3N14wFBAlCRJinJoYkD+//9//39iQGDbtu0YTjpAIAsFMAwFbmItTk8VNCQEAQEJASgCAQAsADAKBAEsDAEgFAJrcjQJBAVuYi1OTwgB"/>
  <p:tag name="GRUNT-VERSION" val="20.24.1.0"/>
  <p:tag name="GRUNT-VERSION-2" val="2024.1-r2-4069"/>
  <p:tag name="GRUNT-SYNC" val="b002a50d151647dbaa7f3157ac8955cf"/>
  <p:tag name="GRUNT-RENDERHASH" val="e98392991c31a46d338fa24b0159487a-sv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71a18621-ee75-4dc1-b4e2-99374aadf668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mhoKN0FsdHVhLkRhdGEuRGF0YVNlcnZpY2VzLkVtYmVkZGVkRGF0YVNlcnZpY2UsIEFsdHVhLkRhdGEFAhkEEgQQr7Q8PGJZ7kWUT6Zcgs6tuA0MJREFDAYFGAgSEAoWQUFsdHVhLkRhdGEuRGF0YVNlcnZpY2VzLkVtYmVkZGVkRGF0YVNlcnZpY2VFZGl0b3JEYXRhLCBBbHR1YS5EYXRhEQUEBRwNIBgGBSQNKBUsHB4dBBIEEB/rjDimIctLiTIXQgTfWDQLAAAAAAAgYkAgWh0EEgQQ6KtOsMwTTUOX+Kgfpyx9GQsAAAAAAAAyQB0EEgQQhB+R4huFNUGwuFZrPUlJDwsAAAAAAAAyQB0EEgQQ+SxZ/v3fb0W5/mfTI9KrIwsAAAAAAAAyQCQEMDQ4PCgFQERITFAsjQcsBCgEEgQQ2o0rEHtPmkyZRivzTi/4HAwSBBBfl5CXxFq7QpsQMAZxTsVZDVQsBCgEEgQQdZ6YkVxDK0eAjaDLHe+U4wwSBBBfl5CXxFq7QpsQMAZxTsVZDVgsBCgEEgQQ2o0rEHtPmkyZRivzTi/4HAwSBBA3BqPrKiz5RKDe31YszJPpDVwsBCgEEgQQM3YuVsqsz0O4n/jX90PyIgwSBBBfl5CXxFq7QpsQMAZxTsVZDWAsBCgEEgQQM3YuVsqsz0O4n/jX90PyIgwSBBD9SBrgRNX9R69Ti2+gyCCUDWQsBCgEEgQQH+uMOKYhy0uJMhdCBN9YNAwSBBC81ysq0vqwT63N7Kth/CL/DWgsBCgEEgQQH+uMOKYhy0uJMhdCBN9YNAwSBBBfl5CXxFq7QpsQMAZxTsVZDWwsBCgEEgQQH+uMOKYhy0uJMhdCBN9YNAwSBBDHwZTB2/ucQ4Iz45jqfkmrDXAsBCgEEgQQ2o0rEHtPmkyZRivzTi/4HAwSBBDHwZTB2/ucQ4Iz45jqfkmrDXQsBCgEEgQQM3YuVsqsz0O4n/jX90PyIgwSBBDHwZTB2/ucQ4Iz45jqfkmrDXgsBCgEEgQQM3YuVsqsz0O4n/jX90PyIgwSBBA3BqPrKiz5RKDe31YszJPpDXwtBCgEEgQQM3YuVsqsz0O4n/jX90PyIgwSBBC81ysq0vqwT63N7Kth/CL/DYABLQQoBBIEEHWemJFcQytHgI2gyx3vlOMMEgQQNwaj6yos+USg3t9WLMyT6Q2EAS0EKAQSBBAf64w4piHLS4kyF0IE31g0DBIEEP1IGuBE1f1Hr1OLb6DIIJQNiAEtBCgEEgQQH+uMOKYhy0uJMhdCBN9YNAwSBBA3BqPrKiz5RKDe31YszJPpDYwBLQQoBBIEEHWemJFcQytHgI2gyx3vlOMMEgQQx8GUwdv7nEOCM+OY6n5Jqw2QAS0EKAQSBBB1npiRXEMrR4CNoMsd75TjDBIEELzXKyrS+rBPrc3sq2H8Iv8NlAEtBCgEEgQQ2o0rEHtPmkyZRivzTi/4HAwSBBD9SBrgRNX9R69Ti2+gyCCUDZgBLQQoBBIEEHWemJFcQytHgI2gyx3vlOMMEgQQ/Uga4ETV/UevU4tvoMgglA2cAS0EKAQSBBDajSsQe0+aTJlGK/NOL/gcDBIEELzXKyrS+rBPrc3sq2H8Iv8NoAEwGgQSBBDajSsQe0+aTJlGK/NOL/gcDAJDMRkBNBoEEgQQH+uMOKYhy0uJMhdCBN9YNAwCQzIZATgaBBIEEHWemJFcQytHgI2gyx3vlOMMAkMzGQE8GgQSBBAzdi5WyqzPQ7if+Nf3Q/IiDAJDNBkBQBoEEgQQX5eQl8Rau0KbEDAGcU7FWQwCUjEZAUQaBBIEEDcGo+sqLPlEoN7fVizMk+kMAlI1GQFIGgQSBBDHwZTB2/ucQ4Iz45jqfkmrDAJSNxkBTBoEEgQQ/Uga4ETV/UevU4tvoMgglAwCUjgZAVAaBBIEELzXKyrS+rBPrc3sq2H8Iv8MAlI5GQFUBg2kARWoAVgGDaQBFawBXAYNsAEVtAFgBg2kARW4AWQGDbwBFcABaAYNvAEVxAFsBg2kARXIAXAGDcwBFdABdAYNzAEV1AF4Bg3MARXYAXwGDbABFdwBgAEGDbwBFeABhAEGDbABFeQBiAEGDbwBFegBjAEGDbABFewBkAEGDcwBFfABlAEGDbwBFfQBmAEGDbwBFfgBnAEGDbwBFfwBoAEGDbwBFYACpAECBACoAQUEAwWEAqwBBQQDBYgCsAECBAC0AQUEAwWMArgBBQQDBZACvAECBADAAQUEAwWUAsQBBQQDBZgCyAEFBAMFnALMAQIEANABBQQDBaAC1AEFBAMFpALYAQUEAwWoAtwBBQQDBawC4AEFBAMFsALkAQUEAwW0AugBBQQDBbgC7AEFBAMFvALwAQUEAwXAAvQBBQQDBcQC+AEFBAMFyAL8AQUEAwXMAoACBQQDBdAChAICAQCIAgUBAdUCVowCBQEB3QJWkAIFAQHhAlaUAgUBAeUCVpgCBQEB6QJWnAIFAQHtAlagAgUBAfECVqQCBQEB9QJWqAIFAQH5AlasAgUBAf0CVrACBQEBgQNWtAIFAQGFA1a4AgUBAYkDVrwCBQEBjQNWwAIFAQGRA1bEAgUBAZUDVsgCBQEBmQNWzAIFAQGdA1bQAgUBAaEDVtoCL0FsdHVhLkRhdGEuSW5mcmFzdHJ1Y3R1cmUuUGFyYWdyYXBoLCBBbHR1YS5EYXRh1QJWBQwDBaQD3QJWBQwDBagD4QJWBQwDBawD5QJWBQwDBbAD6QJWBQwDBbQD7QJWBQwDBbgD8QJWBQwDBbwD9QJWBQwDBcAD+QJWBQwDBcQD/QJWBQwDBcgDgQNWBQwDBcwDhQNWBQwDBdADiQNWBQwDBdQDjQNWBQwDBdgDkQNWBQwDBdwDlQNWBQwDBeADmQNWBQwDBeQDnQNWBQwDBegDoQNWBQwDBewDpAMFAQHxA32oAwUBAfkDfawDBQEB/QN9sAMGAQGBBIEBtAMGAQGJBIEBuAMFAQGNBH28AwYBAZEEgQHAAwUBAZUEfcQDBgEBmQSBAcgDBgEBnQSBAcwDBgEBoQSBAdADBgEBpQSBAdQDBgEBqQSBAdgDBgEBrQSBAdwDBgEBsQSBAeADBgEBtQSBAeQDBQEBuQR96AMGAQG9BIEB7AMFAQHBBH32Ay1BbHR1YS5EYXRhLkluZnJhc3RydWN0dXJlLlRleHRSdW4sIEFsdHVhLkRhdGHxA30JBAQyMDIzDcQE+QN9JAQfSSBsaXRlbiBlbGxlciBzdsOmcnQgbGl0ZW4gZ3JhZA3IBP0DfQkEBDIwMjQNxASGBC9BbHR1YS5EYXRhLkluZnJhc3RydWN0dXJlLk51bWJlclJ1biwgQWx0dWEuRGF0YYEEgQETBA4DGWJyBTG5PEAdzQSUAQ3UBIkEgQETBA4D1VBeQ3kNFUAdzQSUAQ3UBI0EfQkEBDIwMjEN2ASRBIEBEwQOAy6vobyG8kxAHc0ElAEN1ASVBH0WBBFJIHZhcmllcmVuZGUgZ3JhZA3cBJkEgQETBA4D3QpicgUxTEAdzQSUAQ3UBJ0EgQETBA4DIFcQkyuIKUAdzQSUAQ3UBKEEgQETBA4Dz+QKYnIFAUAdzQSUAQ3UBKUEgQETBA4DAAAAAAAAIkAdzQSUAQ3UBKkEgQETBA4D4FBeQ3kNNUAdzQSUAQ3UBK0EgQETBA4DNXkN5TWUL0AdzQSUAQ3UBLEEgQETBA4DAAAAAACAT0AdzQSUAQ3UBLUEgQETBA4DAAAAAAAACEAdzQSUAQ3UBLkEfSIEHUkgc3bDpnJ0IHN0b3IgZWxsZXIgc3RvciBncmFkDeAEvQSBARMEDgMAAAAAAAA5QB3NBJQBDdQEwQR9DQQIVmV0IGlra2UN5ATEBBIEABwAJAAsADQAPABMAFQAXQDIBBIEABwAJAAsADQAPABMAFQAXQDSBD1BbHR1YS5EYXRhLk51bWJlckZvcm1hdHRpbmcuQ29tcG9zaXRlTnVtYmVyRm9ybWF0LCBBbHR1YS5EYXRhzQSUAQsd6AQl7AQ18AQ9ANQEEgQAHAAkACwANAA8AEwAVABdANgEEgQAHAAkACwANAA8AEwAVABdANwEEgQAHAAkACwANAA8AEwAVABdAOAEEgQAHAAkACwANAA8AEwAVABdAOQEEgQAHAAkACwANAA8AEwAVABdAOgECQAADAMF9AQRAOwECQAADAMF+AQRAPAECgQBLAwBLhQCa3L0BAYBAf0EoAH4BAoBAoUFogGNBaABggVCQWx0dWEuRGF0YS5OdW1iZXJGb3JtYXR0aW5nLk51bWJlckZvcm1hdEdlbmVyYWxTZWdtZW50LCBBbHR1YS5EYXRh/QSgAQCKBT9BbHR1YS5EYXRhLk51bWJlckZvcm1hdHRpbmcuTnVtYmVyRm9ybWF0VGV4dFNlZ21lbnQsIEFsdHVhLkRhdGGFBaIBBQQBLQkBjQWgAQA="/>
  <p:tag name="GRUNT-RENDERHASH" val="6756f7b17ed3e8214615adf491165862-svg"/>
  <p:tag name="GRUNT-X-SHAPEBOUNDS" val="ASIBBAAAAEDaMk1AAAAAAGv/aUAAAADg1+57QAAAAIA4mG5AAA=="/>
  <p:tag name="GRUNT-X-PAGEOBJECT" val="AQUC/UkKOEFsdHVhLk9hay5Db3JlLkRvY3VtZW50TW9kZWwuQ2hhcnRPYmplY3QsIEFsdHVhLk9hay5Db3JlBQI1BBIEEGZY7bMuPMtIrJo3OaGbSJoMEgQQr7Q8PGJZ7kWUT6Zcgs6tuBUNBCUUNRg9HFUgZSQSUEFsdHVhLk9hay5Db3JlLkRvY3VtZW50TW9kZWwuVGVtcGxhdGluZy5DdXN0b21Qb3NpdGlvbkRlZmluaXRpb24sIEFsdHVhLk9hay5Db3JlDQQkBCIBBKCZmTnaQk5ANahqVHCVbEAAAADs16p7QJ+9e1ZmtWlAFBMVKB0sNTA4AEU1DlU8XUBkAgVEGAQEAgVIHAIFTCALBVAMBW5iLU5PFVQkEAEBCQERARkBIQEpATEBOQAoFgQSBBAAAAAAAAAAAAAAAAAAAAAACAEsFgQSBBAAAAAAAAAAAAAAAAAAAAAACAEwADo3QWx0dWEuT2FrLkNvcmUuQ2hhcnQuTGluZVBsb3REZWZpbml0aW9uLCBBbHR1YS5PYWsuQ29yZTUORgAACAQlWDwSBBDFKbds3s4tQrFl+CRscl9IRAIFXFVgWQFzAAAAAAAA8D98AgVkhQFpG5EBAJ0BcKUBdR6pAQC1AXy5AQA8BQWAAQ0AQAQBAAkARAoBBIQBiAGMAZABSAIBAEwAUAoEASwMASAUAmtyVAkEBW5iLU5PCAFYDQAACAEUAwWUARwAJQBcAgEAYCYEIgEEAAAAAAAAEEAAAAAAAAAQQAAAAAAAABBAAAAAAAAAEEAIBGQEAQGYAW5FQWx0dWEuT2FrLkNvcmUuUGxvdHRpbmcuQXV0b21hdGljQ2F0ZWdvcnlBeGlzU2V0dGluZ3MsIEFsdHVhLk9hay5Db3JlaRsTAQENnAEQABkBMAA9oAFFpAFIAXAGBakBKwgCej1BbHR1YS5PYWsuQ29yZS5UaGVtaW5nLlBhZ2VDb2xvclNjaGVtZVBvaW50ZXIsIEFsdHVhLk9hay5Db3JldR4AfEo1sAE9tAFFuAFVvAFdwAF1xAGNAcgBnQHMAaUB0AGtAdQBzQHYAdUB3AHdAeAB5QHkAe0B6AH1AewB/QHwAYUC9AGNAvgBlQL8AYABAIQBSAQSBBAwnZNhOiUaQrdFAAjOVZHIDBIEEO9Fj9A1JlVPv/lF+gwBXCcVgAIcEgQQNwaj6yos+USg3t9WLMyT6SQALYQCNYkCQ4gBSAQSBBCOrLlKYWYKSJ3mlOl2N764DBIEEO9Fj9A1JlVPv/lF+gwBXCcVkAIcEgQQx8GUwdv7nEOCM+OY6n5JqyQALZQCNZkCQ4wBSAQSBBDjLP1P2w12TIzbfiERWgAoDBIEEO9Fj9A1JlVPv/lF+gwBXCcVnAIcEgQQ/Uga4ETV/UevU4tvoMgglCQALaACNaUCQ5ABSAQSBBDofmU1FG+ESYbN+hBVGN2+DBIEEO9Fj9A1JlVPv/lF+gwBXCcVqAIcEgQQvNcrKtL6sE+tzeyrYfwi/yQALawCNaUCQ5QBAgEAmAFCAQEYAyWwAikAMQBAAEgCVbQCXbgCZBIEEO9Fj9A1JlVPv/lF+gwBXCdtvAJ1wAKNAcQCkQEBnQHIAqUBzAK1AdACnAECAQCgAQYF1QJWCASkAQYF3QJWCASuATpBbHR1YS5PYWsuQ29yZS5UaGVtaW5nLkJpbmRpbmdDb2xvclBvaW50ZXIsIEFsdHVhLk9hay5Db3JlqQErBAXhAlmwAQUEAwXoArQBBQQDBewCuAEFBAMF8AK8AQUEAwX0AsABBQQDBfgCxAEFBAMF/ALIAQUEAwWAA8wBBQQDBYQD0AEFBAMFiAPUAQUEAwWMA9gBBQQDBZAD3AEFBAMFlAPgAQUEAwWYA+QBBQQDBZwD6AEFBAMFoAPsAQUEAwWkA/ABBQQDBagD9AEFBAMFrAP4AQUEAwWwA/wBBQQDBbQDgAIFBbgDCAGEAgQFAAgBjgI+QWx0dWEuT2FrLkNvcmUuQ2hhcnQuRGVmYXVsdFBsb3RTZXJpZXNTZXR0aW5ncywgQWx0dWEuT2FrLkNvcmWJAkMAkAIFBbwDCAGUAgQFAAgBmQJDAJwCBQXAAwgBoAIEBQAIAaUCQwCoAgQFAAgBrAIEBQAIAbACCwMAAAAAAAAAAAgCtAILAwAAAAAAAAAACAG4AgsDAAAAAAAAAAAIAbwCFQXEAw3IAxXMAx3QAyXUAy3YAzXcA8ACBw3gAxXlA1bEAgsDAAAAAAAAAAAIBMgCBgXpA1YIBMwCBgXpA1YIBNACBQQDBewD2gIzQWx0dWEuT2FrLkNvcmUuVGhlbWluZy5Db2xvclBvaW50ZXIsIEFsdHVhLk9hay5Db3Jl1QJWUFBQ/90CVlBQUP/mAkhBbHR1YS5PYWsuQ29yZS5TeW50YXhTdHJ1Y3R1cmUuUGxvdFNlcmllc0JpbmRpbmdTdHJhdGVneSwgQWx0dWEuT2FrLkNvcmXhAlkA6AICAQDsAhwBDfAD9AP4A/wDgASEBIgEjASQBJQEmAScBKAE8AIEAQGkBPQCDAEFqASsBLAEtAS4BPgCCgEEvATABMQEyAT8AgQBAcwEgAMCAQCEAwIBAIgDGAEL0ATUBNgE3ATgBOQE6ATsBPAE9AT4BIwDAgEAkAMaAQz8BIAFhAWIBYwFkAWUBZgFnAWgBaQFqAWUAxQBCawFsAW0BbgFvAXABcQFyAXMBZgDAgEAnAMGAQLQBdQFoAMIAQPYBdwF4AWkAwIBAKgDBAEB5AWsAwIBALADGAEL6AXsBfAF9AX4BfwFgAaEBogGjAaQBrQDAgEAuAMFBAMFlAa8AwUEAwWYBsADBQQDBZwGxAMHBAMEAQAIBMgDBQQBLggEzAMEAAEIBNADBAAACATUAwQEAAgE2AMEBAAIBNwDBAAACATgAwUEAwWgBuUDVj4+5f/pA1ZQUFD/7AMCAQDwAw4FpQbKAQsAAAAAAAAAAPQDDgWtBswBCwAAAAAAAOA/+AMOBbUGzgELAAAAAAAA4D/8Aw4FvQbQAQsAAAAAAADgP4AEDgXFBtIBCwAAAAAAAPg/hAQOBc0G1AELAAAAAAAA4D+IBA4F1QbWAQsAAAAAAADgP4wEDgXdBtgBCwAAAAAAAAAAkAQOBeUG2gELAAAAAAAAEUCUBA4F7QbaAQsAAAAAAAARQJgEDgXxBtoBCwAAAAAAABFAnAQOBfUG2gELAAAAAAAAEUCgBA4F+QbaAQsAAAAAAAARQKQECAX9BtABDYAHqAQHBYUH4gEIAawEBwWNB+IBCAGwBAcFkQfiAQgBtAQHBZUH4gEIAbgEBwWZB+IBCAG8BA4FnQfiAQsAAAAAAAAgQMAEDgWhB+IBCwAAAAAAACBAxAQOBaUH4gELAAAAAAAAIEDIBA4FlQfiAQsAAAAAAAAgQMwEDgWpB+sBCwAAAAAAAAAA0AQJBbEH7QENuQcr1AQKBb0H1AENwQfxAdgECgXJB8wBDc0H8QHcBAoF0QfOAQ3VB/EB4AQJBdkH9wEN4QdW5AQKBeUH1gEN6QfxAegECgXtB+IBDfEH8QHsBAoF9QfaAQ35B/EB8AQJBf0H2gENgQhW9AQKBfUG2gENhQjxAfgECQX5BtoBDYkIVvwEBwWNCIQCCQCABQcFlQiGAgkBhAUHBZ0IiAIJAYgFBwWlCIoCCQGMBQcFrQiEAgkAkAUHBbEIjQIJAZQFBwW5CI8CCQCYBQcFwQiRAgkAnAUHBckIjQIJAaAFBwXNCI0CCQGkBQcF0QiNAgkBqAUHBdUIjQIJAawFCgXZCJcCDeEImQKwBQoF6QibAg3xCJ0CtAUKBfkIhAIN/QigArgFCgWFCYYCDYkJowK8BQoFkQmIAg2JCaMCwAUKBZUJigINmQmnAsQFCgWhCYQCDaUJqgLIBQoFrQmNAg2xCa0CzAUKBbkJjQINvQmgAtAFCgXBCY8CDcUJsgLUBQoFzQm0Ag3VCbIC2AUKBdkJtAIN3Qm4AtwFCgXlCY0CDekJuALgBQoF7QmNAg3xCbgC5AUKBfUJ6wEN+Qm/AugFCgWBCoQCDYUKwgLsBQoFjQrEAg2VCsIC8AUKBZkK1AENnQrCAvQFCgWhCo8CDaUKwgL4BQoFqQqNAg2tCsIC/AUKBbEKjQINtQrCAoAGCgW5Co0CDb0KwgKEBgoFwQrRAg3JCsICiAYKBcEK0QINzQrCAowGCgXBCtECDdEKwgKQBgoF1QqNAg3ZCsIClAYGAQHdCtgCmAYGAQHlCtgCnAYGAQHpCtgCoAYEAQIBBKoGWUFsdHVhLk9hay5Db3JlLk1vZGlmaWNhdGlvbi5TdHlsaW5nLlZhbHVlQXhpc0dyaWRsaW5lc0N1c3RvbWl6YXRpb25UYXJnZXQsIEFsdHVhLk9hay5Db3JlpQbKAQCyBlNBbHR1YS5PYWsuQ29yZS5Nb2RpZmljYXRpb24uU3R5bGluZy5DYXRlZ29yeUF4aXNDdXN0b21pemF0aW9uVGFyZ2V0LCBBbHR1YS5PYWsuQ29yZa0GzAEAugZQQWx0dWEuT2FrLkNvcmUuTW9kaWZpY2F0aW9uLlN0eWxpbmcuT3JpZ29MaW5lQ3VzdG9taXphdGlvblRhcmdldCwgQWx0dWEuT2FrLkNvcmW1Bs4BAMIGXUFsdHVhLk9hay5Db3JlLk1vZGlmaWNhdGlvbi5TdHlsaW5nLkFsbENvbm5lY3RvcnNBdXhpbGlhcnlDdXN0b21pemF0aW9uVGFyZ2V0LCBBbHR1YS5PYWsuQ29yZb0G0AEAygZZQWx0dWEuT2FrLkNvcmUuTW9kaWZpY2F0aW9uLlN0eWxpbmcuU2VyaWVzV2l0aFBsb3RLaW5kQ3VzdG9taXphdGlvblRhcmdldCwgQWx0dWEuT2FrLkNvcmXFBtIBAwXsCtIGU0FsdHVhLk9hay5Db3JlLk1vZGlmaWNhdGlvbi5TdHlsaW5nLkFsbFZhbHVlQXhpc0N1c3RvbWl6YXRpb25UYXJnZXQsIEFsdHVhLk9hay5Db3JlzQbUAQDaBltBbHR1YS5PYWsuQ29yZS5Nb2RpZmljYXRpb24uU3R5bGluZy5HcmlkbGluZUZvckRpcmVjdGlvbkN1c3RvbWl6YXRpb25UYXJnZXQsIEFsdHVhLk9hay5Db3Jl1QbWAQIBAOIGVkFsdHVhLk9hay5Db3JlLk1vZGlmaWNhdGlvbi5TdHlsaW5nLlNpbmdsZVZhbHVlQXhpc0N1c3RvbWl6YXRpb25UYXJnZXQsIEFsdHVhLk9hay5Db3Jl3QbYARQEEgQQ70WP0DUmVU+/+UX6DAFcJ+oGTUFsdHVhLk9hay5Db3JlLk1vZGlmaWNhdGlvbi5TdHlsaW5nLlNlcmllc0N1c3RvbWl6YXRpb25UYXJnZXQsIEFsdHVhLk9hay5Db3Jl5QbaARQEEgQQMJ2TYTolGkK3RQAIzlWRyO0G2gEUBBIEEN4S/6C345lRjYGuRrrTzVXxBtoBFAQSBBCOrLlKYWYKSJ3mlOl2N7649QbaARQEEgQQ4yz9T9sNdkyM234hEVoAKPkG2gEUBBIEEOh+ZTUUb4RJhs36EFUY3b79BtABAIAHBQwDBfAKigdTQWx0dWEuT2FrLkNvcmUuTW9kaWZpY2F0aW9uLlN0eWxpbmcuU2VyaWVzTWFya2VyQ3VzdG9taXphdGlvblRhcmdldCwgQWx0dWEuT2FrLkNvcmWFB+IBFAQSBBDeEv+gt+OZUY2Brka6081VjQfiARQEEgQQMJ2TYTolGkK3RQAIzlWRyJEH4gEUBBIEEI6suUphZgpIneaU6XY3vriVB+IBFAQSBBDjLP1P2w12TIzbfiERWgAomQfiARQEEgQQ6H5lNRRvhEmGzfoQVRjdvp0H4gEUBBIEEDCdk2E6JRpCt0UACM5VkcihB+IBFAQSBBDeEv+gt+OZUY2Brka6081VpQfiARQEEgQQjqy5SmFmCkid5pTpdje+uK4HXkFsdHVhLk9hay5Db3JlLk1vZGlmaWNhdGlvbi5TdHlsaW5nLkFsbENhdGVnb3J5TGFiZWxPZkxldmVsQ3VzdG9taXphdGlvblRhcmdldCwgQWx0dWEuT2FrLkNvcmWpB+sBBQ31Ct4CtgdWQWx0dWEuT2FrLkNvcmUuTW9kaWZpY2F0aW9uLlN0eWxpbmcuQWxsU2VyaWVzTWFya2VyQ3VzdG9taXphdGlvblRhcmdldCwgQWx0dWEuT2FrLkNvcmWxB+0BALkHKwQF/QpZvQfUAQDGBzdBbHR1YS5PYWsuQ29yZS5UaGVtaW5nLlBhZ2VDb2xvclBvaW50ZXIsIEFsdHVhLk9hay5Db3JlwQfxAQQAAAgAyQfMAQDNB/EBBAAACADRB84BANUH8QEEAAAIAN4HU0FsdHVhLk9hay5Db3JlLk1vZGlmaWNhdGlvbi5TdHlsaW5nLkFsbEdyaWRsaW5lc0N1c3RvbWl6YXRpb25UYXJnZXQsIEFsdHVhLk9hay5Db3Jl2Qf3AQDhB1aAgID/5QfWAQIBAOkH8QEEAAEIAu0H4gEUBBIEEN4S/6C345lRjYGuRrrTzVXxB/EBBAAFCAD1B9oBFAQSBBDeEv+gt+OZUY2Brka6081V+QfxAQQABQgA/QfaARQEEgQQMJ2TYTolGkK3RQAIzlWRyIEIVv+hL/+FCPEBBAAHCAOJCFYAAMD/kghYQWx0dWEuT2FrLkNvcmUuTW9kaWZpY2F0aW9uLlN0eWxpbmcuU2VyaWVzTGFiZWxPZlR5cGVDdXN0b21pemF0aW9uVGFyZ2V0LCBBbHR1YS5PYWsuQ29yZY0IhAICAACaCFhBbHR1YS5PYWsuQ29yZS5Nb2RpZmljYXRpb24uU3R5bGluZy5BbGxWYWx1ZUF4aXNMYWJlbEN1c3RvbWl6YXRpb25UYXJnZXQsIEFsdHVhLk9hay5Db3JllQiGAgCiCFdBbHR1YS5PYWsuQ29yZS5Nb2RpZmljYXRpb24uU3R5bGluZy5BbGxDYXRlZ29yeUxhYmVsQ3VzdG9taXphdGlvblRhcmdldCwgQWx0dWEuT2FrLkNvcmWdCIgCAKoIWEFsdHVhLk9hay5Db3JlLk1vZGlmaWNhdGlvbi5TdHlsaW5nLkFsbEF1eGlsaWFyeUxhYmVsQ3VzdG9taXphdGlvblRhcmdldCwgQWx0dWEuT2FrLkNvcmWlCIoCAK0IhAICAAK2CFJBbHR1YS5PYWsuQ29yZS5Nb2RpZmljYXRpb24uU3R5bGluZy5TZXJpZXNMYWJlbEN1c3RvbWl6YXRpb25UYXJnZXQsIEFsdHVhLk9hay5Db3JlsQiNAhYEEgQQ3hL/oLfjmVGNga5GutPNVQgAvghVQWx0dWEuT2FrLkNvcmUuTW9kaWZpY2F0aW9uLlN0eWxpbmcuVmFsdWVBeGlzTGFiZWxDdXN0b21pemF0aW9uVGFyZ2V0LCBBbHR1YS5PYWsuQ29yZbkIjwIUBBIEEO9Fj9A1JlVPv/lF+gwBXCfGCFpBbHR1YS5PYWsuQ29yZS5Nb2RpZmljYXRpb24uU3R5bGluZy5WYWx1ZUF4aXNUaXRsZUxhYmVsQ3VzdG9taXphdGlvblRhcmdldCwgQWx0dWEuT2FrLkNvcmXBCJECFAQSBBDvRY/QNSZVT7/5RfoMAVwnyQiNAhYEEgQQjqy5SmFmCkid5pTpdje+uAgAzQiNAhYEEgQQMJ2TYTolGkK3RQAIzlWRyAgA0QiNAhYEEgQQ4yz9T9sNdkyM234hEVoAKAgA1QiNAhYEEgQQ6H5lNRRvhEmGzfoQVRjdvggA3ghYQWx0dWEuT2FrLkNvcmUuTW9kaWZpY2F0aW9uLlN0eWxpbmcuQ2F0ZWdvcnlBeGlzVGl0bGVDdXN0b21pemF0aW9uVGFyZ2V0LCBBbHR1YS5PYWsuQ29yZdkIlwIA5ghGQWx0dWEuT2FrLkNvcmUuUGxvdHRpbmcuQXhpc1RpdGxlTGFiZWxQbGFjZW1lbnRPdXRzaWRlLCBBbHR1YS5PYWsuQ29yZeEImQICAAHuCF1BbHR1YS5PYWsuQ29yZS5Nb2RpZmljYXRpb24uU3R5bGluZy5BbGxWYWx1ZUF4aXNUaXRsZUxhYmVsQ3VzdG9taXphdGlvblRhcmdldCwgQWx0dWEuT2FrLkNvcmXpCJsCAPYIQkFsdHVhLk9hay5Db3JlLlBsb3R0aW5nLkF4aXNUaXRsZUxhYmVsUGxhY2VtZW50RmFyLCBBbHR1YS5PYWsuQ29yZfEInQICAAD5CIQCAgAAgglAQWx0dWEuT2FrLkNvcmUuUGxvdHRpbmcuTGFiZWxQbGFjZW1lbnRQb2ludE91dGVyLCBBbHR1YS5PYWsuQ29yZf0IoAIAhQmGAgCOCUFBbHR1YS5PYWsuQ29yZS5QbG90dGluZy5BeGlzTGFiZWxQbGFjZW1lbnRPdXRzaWRlLCBBbHR1YS5PYWsuQ29yZYkJowICAQCRCYgCAJUJigIAnglGQWx0dWEuT2FrLkNvcmUuUGxvdHRpbmcuQXV4aWxpYXJ5TGFiZWxQbGFjZW1lbnREZWZhdWx0LCBBbHR1YS5PYWsuQ29yZZkJpwIAoQmEAgIAAqoJQ0FsdHVhLk9hay5Db3JlLlBsb3R0aW5nLkxhYmVsUGxhY2VtZW50U2VyaWVzT3V0c2lkZSwgQWx0dWEuT2FrLkNvcmWlCaoCAgABrQmNAhYEEgQQjqy5SmFmCkid5pTpdje+uAgAtglEQWx0dWEuT2FrLkNvcmUuUGxvdHRpbmcuTGFiZWxQbGFjZW1lbnRNYW51YWxSZWxhdGl2ZSwgQWx0dWEuT2FrLkNvcmWxCa0CFAQSAQKAR8ybuZ0MQIB2h7jv+SrAuQmNAhYEEgQQMJ2TYTolGkK3RQAIzlWRyAgAvQmgAgDBCY8CFAQSBBDvRY/QNSZVT7/5RfoMAVwnyglCQWx0dWEuT2FrLkNvcmUuU3ludGF4U3RydWN0dXJlLkFjdHVhbEZvbnRTaXplVmFsdWUsIEFsdHVhLk9hay5Db3JlxQmyAgkDAAAAAAAAKkDSCVBBbHR1YS5PYWsuQ29yZS5Nb2RpZmljYXRpb24uU3R5bGluZy5BbGxMYWJlbHNDdXN0b21pemF0aW9uVGFyZ2V0LCBBbHR1YS5PYWsuQ29yZc0JtAIA1QmyAgkDAAAAAAAAKEDZCbQCAOIJQ0FsdHVhLk9hay5Db3JlLlN5bnRheFN0cnVjdHVyZS5BY3R1YWxGb250Q29sb3JWYWx1ZSwgQWx0dWEuT2FrLkNvcmXdCbgCBQWBC+EC5QmNAhYEEgQQ3hL/oLfjmVGNga5GutPNVQgA6Qm4AgUFiQvxAe0JjQIWBBIEEDCdk2E6JRpCt0UACM5VkcgIAPEJuAIEBY0LVvUJ6wEFDZEL3gL+CUNBbHR1YS5PYWsuQ29yZS5TeW50YXhTdHJ1Y3R1cmUuQWN0dWFsRm9udFN0eWxlVmFsdWUsIEFsdHVhLk9hay5Db3Jl+Qm/AgIAAIEKhAICAACKCkZBbHR1YS5PYWsuQ29yZS5TeW50YXhTdHJ1Y3R1cmUuQWN0dWFsTnVtYmVyRm9ybWF0VmFsdWUsIEFsdHVhLk9hay5Db3JlhQrCAgUFlQvmApIKVUFsdHVhLk9hay5Db3JlLk1vZGlmaWNhdGlvbi5TdHlsaW5nLkFsbFRvdGFsTGFiZWxzQ3VzdG9taXphdGlvblRhcmdldCwgQWx0dWEuT2FrLkNvcmWNCsQCAJUKwgIFBZUL5gKZCtQBAJ0KwgIFBZUL5gKhCo8CFAQSBBDvRY/QNSZVT7/5RfoMAVwnpQrCAgUFnQvmAqkKjQIWBBIEEN4S/6C345lRjYGuRrrTzVUIAK0KwgIFBZ0L5gKxCo0CFgQSBBAwnZNhOiUaQrdFAAjOVZHICAC1CsICBQWdC+YCuQqNAhYEEgQQjqy5SmFmCkid5pTpdje+uAgAvQrCAgUFoQvmAsYKUEFsdHVhLk9hay5Db3JlLk1vZGlmaWNhdGlvbi5TdHlsaW5nLkNvbXBvc2l0ZUN1c3RvbWl6YXRpb25UYXJnZXQsIEFsdHVhLk9hay5Db3JlwQrRAgUEAwWkC8kKwgIFBakL5gLNCsICBQWtC+YC0QrCAgUFsQvmAtUKjQIWBBIEEOMs/U/bDXZMjNt+IRFaACgIANkKwgIFBbUL5gLiCi9BbHR1YS5EYXRhLkluZnJhc3RydWN0dXJlLlBhcmFncmFwaCwgQWx0dWEuRGF0Yd0K2AIFDAMFuAvlCtgCBQwDBbwL6QrYAgUMAwXAC+wKAQXwCgoBAgAAgEAAAEBA+go5QWx0dWEuT2FrLkNvcmUuUGxvdHRpbmcuQ2F0ZWdvcnlBeGlzTGV2ZWwsIEFsdHVhLk9hay5Db3Jl9QreAgD9ClkAhgs/QWx0dWEuT2FrLkNvcmUuVGhlbWluZy5IaWdoQ29udHJhc3RDb2xvclBvaW50ZXIsIEFsdHVhLk9hay5Db3JlgQvhAgCJC/EBBAAACACNC1akWgD/kQveAgCaCz1BbHR1YS5EYXRhLk51bWJlckZvcm1hdHRpbmcuQ29tcG9zaXRlTnVtYmVyRm9ybWF0LCBBbHR1YS5EYXRhlQvmAgodxAslyAs1UD0AnQvmAgsdzAsl0As11As9AKEL5gILHdgLJdwLNeALPQCkCwYBAeULjQKpC+YCCx3oCyXsCzXwCz0ArQvmAgod9Asl+As1UD0AsQvmAgod/AslgAw1UD0AtQvmAgodhAwliAw1UD0AuAsGAQGNDIQDvAsGAQGVDIQDwAsGAQGZDIQDxAsNAPr///8PDAMFnAwRAMgLDQD6////DwwDBaAMEQDMCwkAAAwDBaQMEQHQCwkAAAwDBagMEQHUCwoEASwMAS4UAmty2AsJAAAMAwWsDBEB3AsJAAAMAwWwDBEB4AsKBAEsDAEuFAJrcuULjQIWBBIEEOh+ZTUUb4RJhs36EFUY3b4IAOgLCQAADAMFtAwRAOwLCQAADAMFuAwRAPALCgQBLAwBIBQCa3L0CwkAAAwDBbwMEQD4CwkAAAwDBcAMEQD8CwkAAAwDBcQMEQCADAkAAAwDBcgMEQCEDAkAAAwDBcwMEQCIDAkAAAwDBdAMEQCSDC1BbHR1YS5EYXRhLkluZnJhc3RydWN0dXJlLlRleHRSdW4sIEFsdHVhLkRhdGGNDIQDJAQfSSBsaXRlbiBlbGxlciBzdsOmcnQgbGl0ZW4gZ3JhZA3UDJUMhAMWBBFJIHZhcmllcmVuZGUgZ3JhZA3YDJkMhAMiBB1JIHN2w6ZydCBzdG9yIGVsbGVyIHN0b3IgZ3JhZA3cDJwMBgEB4QyZA6AMCgEC6QybA/EMmQOkDAYBAfUMngOoDAoBAv0MmwP1DJ4DrAwGAQGBDZ4DsAwKAQKFDZsDgQ2eA7QMBgEBiQ2eA7gMCgECjQ2bA5ENngO8DAYBAZUNngPADAoBAo0NmwOZDZ4DxAwGAQGdDZ4DyAwKAQKNDZsDoQ2eA8wMBgEBpQ2eA9AMCgECqQ2bA60NngPUDBIEABwAJAAsADQAPABMAFQAXQDYDBIEABwAJAAsADQAPABMAFQAXQDcDBIEABwAJAAsADQAPABMAFQAXQDmDEJBbHR1YS5EYXRhLk51bWJlckZvcm1hdHRpbmcuTnVtYmVyRm9ybWF0R2VuZXJhbFNlZ21lbnQsIEFsdHVhLkRhdGHhDJkDAO4MP0FsdHVhLkRhdGEuTnVtYmVyRm9ybWF0dGluZy5OdW1iZXJGb3JtYXRUZXh0U2VnbWVudCwgQWx0dWEuRGF0YekMmwMFBAEtCQHxDJkDAPoMQEFsdHVhLkRhdGEuTnVtYmVyRm9ybWF0dGluZy5OdW1iZXJGb3JtYXRWYWx1ZVNlZ21lbnQsIEFsdHVhLkRhdGH1DJ4DBQQDBbAN/QybAwUEAS0JAYENngMFBAMFtA2FDZsDBQQBLQkBiQ2eAwUEAwW4DY0NmwMFBAEtCQGRDZ4DBQQDBbwNlQ2eAwUEAwXADZkNngMFBAMFxA2dDZ4DBQQDBcgNoQ2eAwUEAwXMDaUNngMFBAMF0A2pDZsDBQQBLQkBrQ2eAwUEAwXUDbANEgEE2Q23A9kNtwPZDbcD4Q23A7QNEgEE5Q23A+UNtwPlDbcD6Q23A7gNEgEE7Q23A/ENvQPtDbcD7Q23A7wNEgEE7Q23A/ENvQPtDbcD7Q23A8ANDgED7Q23A/ENvQPtDbcDxA0OAQPtDbcD8Q29A+0NtwPIDQYBAe0NtwPMDQYBAe0NtwPQDQYBAe0NtwPUDQYBAe0NtwPeDTlBbHR1YS5EYXRhLk51bWJlckZvcm1hdHRpbmcuTnVtYmVyUGxhY2Vob2xkZXIsIEFsdHVhLkRhdGHZDbcDBQIAAAAA4Q23AwUCMAAAAOUNtwMFAgAAAADpDbcDBQIwAAAA7Q23AwUCMAAAAPYNP0FsdHVhLkRhdGEuTnVtYmVyRm9ybWF0dGluZy5EZWNpbWFsUG9pbnRQbGFjZWhvbGRlciwgQWx0dWEuRGF0YfENvQMA"/>
  <p:tag name="GRUNT-SYNC" val="894a54fa7f0c47fc854850a5be28dbd7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53009bf3-e148-4588-a612-e40f94985596"/>
  <p:tag name="GRUNT-X-RESOURCES" val="AQIFBAQEAgEA"/>
  <p:tag name="GRUNT-VERSION" val="20.24.1.0"/>
  <p:tag name="GRUNT-VERSION-2" val="2024.1-r2-4069"/>
  <p:tag name="GRUNT-RENDERHASH" val="4607d4b22ff1f3ff979f2d6b999283f7-svg"/>
  <p:tag name="GRUNT-X-SHAPEBOUNDS" val="ASIBBAAAAKBAqUJAAAAA4JJ+YEAAAACA2y6EQAAAAAAAAEJAAA=="/>
  <p:tag name="GRUNT-X-PAGEOBJECT" val="AQUCswIKPkFsdHVhLk9hay5Db3JlLkRvY3VtZW50TW9kZWwuQ2hhcnRMZWdlbmRPYmplY3QsIEFsdHVhLk9hay5Db3JlBQI5BBIEEPqhivsNexhOpyn0IAofBsMUEgQQxSm3bN7OLUKxZfgkbHJfSC0MNRBEAgUUSABVGQdlIG0kDAQEAgUoEAIFLBQCAQAeUEFsdHVhLk9hay5Db3JlLkRvY3VtZW50TW9kZWwuVGVtcGxhdGluZy5DdXN0b21Qb3NpdGlvbkRlZmluaXRpb24sIEFsdHVhLk9hay5Db3JlGQckBCIBBAAAAKBAqUJA////35J+YED///912y6EQAQAAAAAAEJAIAsFMAwFbmItTk8VNCQEAQEJASgCAQAsADAKBAEsDAEgFAJrcjQJBAVuYi1OTwgB"/>
  <p:tag name="GRUNT-SYNC" val="e7f81858cadd46f2933b49d7840343c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qxUKN0FsdHVhLkRhdGEuRGF0YVNlcnZpY2VzLkVtYmVkZGVkRGF0YVNlcnZpY2UsIEFsdHVhLkRhdGEFAhkEEgQQPAEHN7d3T0OQ7wJMN6kkkQ0MJREFDAYFGAgUEAoWQUFsdHVhLkRhdGEuRGF0YVNlcnZpY2VzLkVtYmVkZGVkRGF0YVNlcnZpY2VFZGl0b3JEYXRhLCBBbHR1YS5EYXRhEQUEBRwNIBgGBSQNKBUsHDwdBBIEENNz8cQb9wFOoDLwDWItJDkLAAAAAAAAHEAdBBIEEB/rjDimIctLiTIXQgTfWDQLAAAAAAAgYkAglgEdBBIEEAW3udO3DvRJkWQYTUZuRawLAAAAAAAAMkAdBBIEEBF5bi6YHOlPpT4SGa3b+1ULAAAAAAAAMkAdBBIEEIQfkeIbhTVBsLhWaz1JSQ8LAAAAAAAAMkAdBBIEEPksWf79329Fuf5n0yPSqyMLAAAAAAAAMkAdBBIEEKTBruNnE2hCqBmPMX5a7skLAAAAAAAAMkAkBTA0ODxAKAJESCzCAywEKAQSBBDajSsQe0+aTJlGK/NOL/gcDBIEEF+XkJfEWrtCmxAwBnFOxVkNTCwEKAQSBBB1npiRXEMrR4CNoMsd75TjDBIEEF+XkJfEWrtCmxAwBnFOxVkNUCwEKAQSBBAf64w4piHLS4kyF0IE31g0DBIEEOjcGhWyCfxHkHpCy/xxYFsNVCwEKAQSBBDiZ4LqncAVT7eeYK508WqGDBIEEF+XkJfEWrtCmxAwBnFOxVkNWCwEKAQSBBAf64w4piHLS4kyF0IE31g0DBIEEF+XkJfEWrtCmxAwBnFOxVkNXCwEKAQSBBD3DW6nGDeySJvO+xOVXgd1DBIEEF+XkJfEWrtCmxAwBnFOxVkNYCwEKAQSBBD3DW6nGDeySJvO+xOVXgd1DBIEEOjcGhWyCfxHkHpCy/xxYFsNZCwEKAQSBBDiZ4LqncAVT7eeYK508WqGDBIEEOjcGhWyCfxHkHpCy/xxYFsNaCwEKAQSBBDajSsQe0+aTJlGK/NOL/gcDBIEEOjcGhWyCfxHkHpCy/xxYFsNbCwEKAQSBBB1npiRXEMrR4CNoMsd75TjDBIEEOjcGhWyCfxHkHpCy/xxYFsNcDAaBBIEENqNKxB7T5pMmUYr804v+BwMAkMxGQE0GgQSBBAf64w4piHLS4kyF0IE31g0DAJDMhkBOBoEEgQQdZ6YkVxDK0eAjaDLHe+U4wwCQzMZATwbBBIEEPcNbqcYN7JIm877E5VeB3UMA0MxOBkBQBsEEgQQ4meC6p3AFU+3nmCudPFqhgwDQzE5GQFEGgQSBBBfl5CXxFq7QpsQMAZxTsVZDAJSMRkBSBoEEgQQ6NwaFbIJ/EeQekLL/HFgWwwCUjIZAUwEDXQVeFAEDXQVfFQFDXQVgAFYBg2EARWIAVwFDXQVjAFgBg2EARWQAWQGDYQBFZQBaAYNhAEVmAFsBQ10FZwBcAUNdBWgAXQCBAB4BQQDBaQBfAUEAwWoAYABBQQDBawBhAECBACIAQUEAwWwAYwBBQQDBbQBkAEFBAMFuAGUAQUEAwW8AZgBBQQDBcABnAEFBAMFxAGgAQUEAwXIAaQBAgEAqAEFAQHNATSsAQUBAdUBNLABBQEB2QE0tAEFAQHdATS4AQUBAeEBNLwBBQEB5QE0wAEFAQHpATTEAQUBAe0BNMgBBQEB8QE00gEvQWx0dWEuRGF0YS5JbmZyYXN0cnVjdHVyZS5QYXJhZ3JhcGgsIEFsdHVhLkRhdGHNATQFDAMF9AHVATQFDAMF+AHZATQFDAMF/AHdATQFDAMFgALhATQFDAMFhALlATQFDAMFiALpATQFDAMFjALtATQFDAMFkALxATQFDAMFlAL0AQUBAZkCR/gBBQEBoQJJ/AEFAQGpAkeAAgUBAa0CR4QCBQEBsQJHiAIFAQG1AkmMAgUBAbkCSZACBQEBvQJJlAIFAQHBAkmeAi1BbHR1YS5EYXRhLkluZnJhc3RydWN0dXJlLlRleHRSdW4sIEFsdHVhLkRhdGGZAkcUBA9UcsO4bmRlbGFnIFPDuHINxAKmAi9BbHR1YS5EYXRhLkluZnJhc3RydWN0dXJlLk51bWJlclJ1biwgQWx0dWEuRGF0YaECSRIEDQMAAAAAAABQQB3JAlMN0AKpAkcKBAVOb3JnZQ3UAq0CRxQED1Ryw7huZGVsYWcgTm9yZA3YArECRxUEEE3DuHJlIG9nIFJvbXNkYWwNxAK1AkkSBA0DAAAAAACAQ0Ad3QJTDeACuQJJEgQNAwAAAAAAQFBAHeUCUw3oAr0CSRIEDQMAAAAAAKCfQB3tAlMN8ALBAkkSBA0DAAAAAAAAUUAd9QJTDfgCxAISBAAcACQALAA0ADwATABUAF0AzgI9QWx0dWEuRGF0YS5OdW1iZXJGb3JtYXR0aW5nLkNvbXBvc2l0ZU51bWJlckZvcm1hdCwgQWx0dWEuRGF0YckCUwsd/AIlgAM1hAM9ANACEgQAHAAkACwANAA8AEwAVABdANQCEgQAHAAkACwANAA8AEwAVABdANgCEgQAHAAkACwANAA8AEwAVABdAN0CUwsdiAMljAM1kAM9AOACEgQAHAAkACwANAA8AEwAVABdAOUCUwsdlAMlmAM1nAM9AOgCEgQAHAAkACwANAA8AEwAVABdAO0CUwsdoAMlpAM1qAM9APACEgQAHAAkACwANAA8AEwAVABdAPUCUwsdrAMlsAM1tAM9APgCEgQAHAAkACwANAA8AEwAVABdAPwCCQAADAMFuAMRAIADCQAADAMFvAMRAIQDCgQBLAwBLhQCa3KIAwkAAAwDBcADEQCMAwkAAAwDBcQDEQCQAwoEASwMAS4UAmtylAMJAAAMAwXIAxEAmAMJAAAMAwXMAxEAnAMKBAEsDAEuFAJrcqADCQAADAMF0AMRAKQDCQAADAMF1AMRAKgDCgQBLAwBLhQCa3KsAwkAAAwDBdgDEQCwAwkAAAwDBdwDEQC0AwoEASwMAS4UAmtyuAMFAQHhA3m8AwgBAukDe+EDecADBQEB8QN5xAMIAQL1A3vxA3nIAwUBAfkDecwDCAEC/QN7+QN50AMFAQGBBHnUAwgBAoUEe4EEedgDBQEBiQR53AMIAQKNBHuJBHnmA0BBbHR1YS5EYXRhLk51bWJlckZvcm1hdHRpbmcuTnVtYmVyRm9ybWF0VmFsdWVTZWdtZW50LCBBbHR1YS5EYXRh4QN5BQQDBZAE7gM/QWx0dWEuRGF0YS5OdW1iZXJGb3JtYXR0aW5nLk51bWJlckZvcm1hdFRleHRTZWdtZW50LCBBbHR1YS5EYXRh6QN7BQQBLQkB8QN5BQQDBZQE9QN7BQQBLQkB+QN5BQQDBZgE/QN7BQQBLQkBgQR5BQQDBZwEhQR7BQQBLQkBiQR5BQQDBaAEjQR7BQQBLQkBkAQGAQGlBIoBlAQGAQGtBIoBmAQGAQGlBIoBnAQGAQGxBIoBoAQGAQGlBIoBqgQ5QWx0dWEuRGF0YS5OdW1iZXJGb3JtYXR0aW5nLk51bWJlclBsYWNlaG9sZGVyLCBBbHR1YS5EYXRhpQSKAQUCMAAAAK0EigEFAjAAAACxBIoBBQIwAAAA"/>
  <p:tag name="GRUNT-RENDERHASH" val="577dfdf4ba17faf13fb616bc8934bbff-svg"/>
  <p:tag name="GRUNT-X-SHAPEBOUNDS" val="ASIBBAAAAEA8bIJAAAAAgPSLbUAAAACgoSBxQAAAAAA98WNAAA=="/>
  <p:tag name="GRUNT-X-PAGEOBJECT" val="AQUC7S0KOEFsdHVhLk9hay5Db3JlLkRvY3VtZW50TW9kZWwuQ2hhcnRPYmplY3QsIEFsdHVhLk9hay5Db3JlBQI1BBIEENnZU5Dru9REpQMbib3PKr4MEgQQPAEHN7d3T0OQ7wJMN6kkkRUNBCUUNRg9HFUgZSQSUEFsdHVhLk9hay5Db3JlLkRvY3VtZW50TW9kZWwuVGVtcGxhdGluZy5DdXN0b21Qb3NpdGlvbkRlZmluaXRpb24sIEFsdHVhLk9hay5Db3JlDQQkBCIBBNhPclM8boJAII9QH44lb0B80FCtoRhxQIi5gGHgSF5AFBMVKB0sNTA4AEU1DlU8XUBkAgVEGAQEAgVIHAIFTCALBVAMBW5iLU5PFVQkEAEBCQERARkBIQEpATEBOQAoFgQSBBAAAAAAAAAAAAAAAAAAAAAACAEsFgQSBBAAAAAAAAAAAAAAAAAAAAAACAEwADpHQWx0dWEuT2FrLkNvcmUuQ2hhcnQuQ2x1c3RlcmVkQmFyV2l0aExpbmVQbG90RGVmaW5pdGlvbiwgQWx0dWEuT2FrLkNvcmU1DjUEEgQQiG81kqgsa06AivYnUt860x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BtokjluDAYTrImQApaB0DOFYQCHBIEEBF5bi6YHOlPpT4SGa3b+1UkAC2IAjWNAkSMAUgEEgQQOa6hS2PnK1Gv94eZJj3pqAwSBBBtokjluDAYTrImQApaB0DOFZQCHBIEEOjcGhWyCfxHkHpCy/xxYFskAC2YAjWNAkSQAUIBABgDJZwCKQAxAEAASAJVoAJdpAJkEgQQbaJI5bgwGE6yJkAKWgdAzm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Ik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db7cd626a1014c78ad8c77704c82ae97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eeb1681d-dba2-42f0-b508-93aca952853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oRUKN0FsdHVhLkRhdGEuRGF0YVNlcnZpY2VzLkVtYmVkZGVkRGF0YVNlcnZpY2UsIEFsdHVhLkRhdGEFAhkEEgQQT7sXQm+SRUuFZjD48qBNUQ0MJREFDAYFGAgUEAoWQUFsdHVhLkRhdGEuRGF0YVNlcnZpY2VzLkVtYmVkZGVkRGF0YVNlcnZpY2VFZGl0b3JEYXRhLCBBbHR1YS5EYXRhEQUEBRwNIBgGBSQNKBUsHDwdBBIEENNz8cQb9wFOoDLwDWItJDkLAAAAAAAAHEAdBBIEEB/rjDimIctLiTIXQgTfWDQLAAAAAAAgYkAglgEdBBIEEAW3udO3DvRJkWQYTUZuRawLAAAAAAAAMkAdBBIEEBF5bi6YHOlPpT4SGa3b+1ULAAAAAAAAMkAdBBIEEIQfkeIbhTVBsLhWaz1JSQ8LAAAAAAAAMkAdBBIEEPksWf79329Fuf5n0yPSqyMLAAAAAAAAMkAdBBIEEKTBruNnE2hCqBmPMX5a7skLAAAAAAAAMkAkBTA0ODxAKAJESCzCAywEKAQSBBDajSsQe0+aTJlGK/NOL/gcDBIEEF+XkJfEWrtCmxAwBnFOxVkNTCwEKAQSBBB1npiRXEMrR4CNoMsd75TjDBIEEF+XkJfEWrtCmxAwBnFOxVkNUCwEKAQSBBAf64w4piHLS4kyF0IE31g0DBIEEOjcGhWyCfxHkHpCy/xxYFsNVCwEKAQSBBDiZ4LqncAVT7eeYK508WqGDBIEEF+XkJfEWrtCmxAwBnFOxVkNWCwEKAQSBBAf64w4piHLS4kyF0IE31g0DBIEEF+XkJfEWrtCmxAwBnFOxVkNXCwEKAQSBBD3DW6nGDeySJvO+xOVXgd1DBIEEF+XkJfEWrtCmxAwBnFOxVkNYCwEKAQSBBD3DW6nGDeySJvO+xOVXgd1DBIEEOjcGhWyCfxHkHpCy/xxYFsNZCwEKAQSBBDiZ4LqncAVT7eeYK508WqGDBIEEOjcGhWyCfxHkHpCy/xxYFsNaCwEKAQSBBDajSsQe0+aTJlGK/NOL/gcDBIEEOjcGhWyCfxHkHpCy/xxYFsNbCwEKAQSBBB1npiRXEMrR4CNoMsd75TjDBIEEOjcGhWyCfxHkHpCy/xxYFsNcDAaBBIEENqNKxB7T5pMmUYr804v+BwMAkMxGQE0GgQSBBAf64w4piHLS4kyF0IE31g0DAJDMhkBOBoEEgQQdZ6YkVxDK0eAjaDLHe+U4wwCQzMZATwbBBIEEPcNbqcYN7JIm877E5VeB3UMA0MxOBkBQBsEEgQQ4meC6p3AFU+3nmCudPFqhgwDQzE5GQFEGgQSBBBfl5CXxFq7QpsQMAZxTsVZDAJSMRkBSBoEEgQQ6NwaFbIJ/EeQekLL/HFgWwwCUjIZAUwEDXQVeFAEDXQVfFQFDXQVgAFYBg2EARWIAVwFDXQVjAFgBg2EARWQAWQGDYQBFZQBaAYNhAEVmAFsBQ10FZwBcAUNdBWgAXQCBAB4BQQDBaQBfAUEAwWoAYABBQQDBawBhAECBACIAQUEAwWwAYwBBQQDBbQBkAEFBAMFuAGUAQUEAwW8AZgBBQQDBcABnAEFBAMFxAGgAQUEAwXIAaQBAgEAqAEFAQHNATSsAQUBAdUBNLABBQEB2QE0tAEFAQHdATS4AQUBAeEBNLwBBQEB5QE0wAEFAQHpATTEAQUBAe0BNMgBBQEB8QE00gEvQWx0dWEuRGF0YS5JbmZyYXN0cnVjdHVyZS5QYXJhZ3JhcGgsIEFsdHVhLkRhdGHNATQFDAMF9AHVATQFDAMF+AHZATQFDAMF/AHdATQFDAMFgALhATQFDAMFhALlATQFDAMFiALpATQFDAMFjALtATQFDAMFkALxATQFDAMFlAL0AQUBAZkCR/gBBQEBoQJJ/AEFAQGpAkeAAgUBAa0CR4QCBQEBsQJHiAIFAQG1AkmMAgUBAbkCSZACBQEBvQJJlAIFAQHBAkmeAi1BbHR1YS5EYXRhLkluZnJhc3RydWN0dXJlLlRleHRSdW4sIEFsdHVhLkRhdGGZAkcUBA9UcsO4bmRlbGFnIFPDuHINxAKmAi9BbHR1YS5EYXRhLkluZnJhc3RydWN0dXJlLk51bWJlclJ1biwgQWx0dWEuRGF0YaECSRIEDQMAAAAAAAAUQB3JAlMN0AKpAkcKBAVOb3JnZQ3UAq0CRxQED1Ryw7huZGVsYWcgTm9yZA3YArECRxUEEE3DuHJlIG9nIFJvbXNkYWwNxAK1AkkSBA0DAAAAAAAAMUAd3QJTDeACuQJJEgQNAwAAAAAAADZAHeUCUw3oAr0CSRIEDQMAAAAAAKCfQB3tAlMN8ALBAkkSBA0DAAAAAAAANUAd9QJTDfgCxAISBAAcACQALAA0ADwATABUAF0AzgI9QWx0dWEuRGF0YS5OdW1iZXJGb3JtYXR0aW5nLkNvbXBvc2l0ZU51bWJlckZvcm1hdCwgQWx0dWEuRGF0YckCUwsd/AIlgAM1hAM9ANACEgQAHAAkACwANAA8AEwAVABdANQCEgQAHAAkACwANAA8AEwAVABdANgCEgQAHAAkACwANAA8AEwAVABdAN0CUwsdiAMljAM1kAM9AOACEgQAHAAkACwANAA8AEwAVABdAOUCUwsdlAMlmAM1nAM9AOgCEgQAHAAkACwANAA8AEwAVABdAO0CUwsdoAMlpAM1qAM9APACEgQAHAAkACwANAA8AEwAVABdAPUCUwsdrAMlsAM1tAM9APgCEgQAHAAkACwANAA8AEwAVABdAPwCCQAADAMFuAMRAIADCQAADAMFvAMRAIQDCgQBLAwBLhQCa3KIAwkAAAwDBcADEQCMAwkAAAwDBcQDEQCQAwoEASwMAS4UAmtylAMJAAAMAwXIAxEAmAMJAAAMAwXMAxEAnAMKBAEsDAEuFAJrcqADCQAADAMF0AMRAKQDCQAADAMF1AMRAKgDCgQBLAwBLhQCa3KsAwkAAAwDBdgDEQCwAwkAAAwDBdwDEQC0AwoEASwMAS4UAmtyuAMFAQHhA3m8AwgBAukDe+EDecADBQEB8QN5xAMIAQL1A3vxA3nIAwUBAfkDecwDCAEC/QN7+QN50AMFAQGBBHnUAwgBAoUEe4EEedgDBQEBiQR53AMIAQKNBHuJBHnmA0BBbHR1YS5EYXRhLk51bWJlckZvcm1hdHRpbmcuTnVtYmVyRm9ybWF0VmFsdWVTZWdtZW50LCBBbHR1YS5EYXRh4QN5BQQDBZAE7gM/QWx0dWEuRGF0YS5OdW1iZXJGb3JtYXR0aW5nLk51bWJlckZvcm1hdFRleHRTZWdtZW50LCBBbHR1YS5EYXRh6QN7BQQBLQkB8QN5BQQDBZQE9QN7BQQBLQkB+QN5BQQDBZgE/QN7BQQBLQkBgQR5BQQDBZwEhQR7BQQBLQkBiQR5BQQDBaAEjQR7BQQBLQkBkAQGAQGlBIoBlAQGAQGlBIoBmAQGAQGlBIoBnAQGAQGtBIoBoAQGAQGlBIoBqgQ5QWx0dWEuRGF0YS5OdW1iZXJGb3JtYXR0aW5nLk51bWJlclBsYWNlaG9sZGVyLCBBbHR1YS5EYXRhpQSKAQUCMAAAAK0EigEFAjAAAAA="/>
  <p:tag name="GRUNT-RENDERHASH" val="725a829aecf6f24c9122c5c0d0c74254-svg"/>
  <p:tag name="GRUNT-X-SHAPEBOUNDS" val="ASIBBAAAAIAG/UhAAAAAoJmZc0AAAAAAIiJ6QAAAAKD0HltAAA=="/>
  <p:tag name="GRUNT-X-PAGEOBJECT" val="AQUC7S0KOEFsdHVhLk9hay5Db3JlLkRvY3VtZW50TW9kZWwuQ2hhcnRPYmplY3QsIEFsdHVhLk9hay5Db3JlBQI1BBIEEN9llm+eA8FHlGRGBukC/EsMEgQQT7sXQm+SRUuFZjD48qBNURUNBCUUNRg9HFUgZSQSUEFsdHVhLk9hay5Db3JlLkRvY3VtZW50TW9kZWwuVGVtcGxhdGluZy5DdXN0b21Qb3NpdGlvbkRlZmluaXRpb24sIEFsdHVhLk9hay5Db3JlDQQkBCIBBBgKQoEGHUlAYN4YAQCgdEA9zaQOIhp6QLBFK6lPpE1AFBMVKB0sNTA4AEU1DlU8XUBkAgVEGAQEAgVIHAIFTCALBVAMBW5iLU5PFVQkEAEBCQERARkBIQEpATEBOQAoFgQSBBAAAAAAAAAAAAAAAAAAAAAACAEsFgQSBBAAAAAAAAAAAAAAAAAAAAAACAEwADpHQWx0dWEuT2FrLkNvcmUuQ2hhcnQuQ2x1c3RlcmVkQmFyV2l0aExpbmVQbG90RGVmaW5pdGlvbiwgQWx0dWEuT2FrLkNvcmU1DjUEEgQQ6tnPR2R2f0GcYxSSRUKqwB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B7354VSNPvRIf1V0FUy/iHFYQCHBIEEBF5bi6YHOlPpT4SGa3b+1UkAC2IAjWNAkSMAUgEEgQQOa6hS2PnK1Gv94eZJj3pqAwSBBB7354VSNPvRIf1V0FUy/iHFZQCHBIEEOjcGhWyCfxHkHpCy/xxYFskAC2YAjWNAkSQAUIBABgDJZwCKQAxAEAASAJVoAJdpAJkEgQQe9+eFUjT70SH9VdBVMv4h2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KE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cd77757f73024f85806cfca4b5a6e2ac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cb02eea0-6954-4ecd-9aad-283584225d39"/>
  <p:tag name="GRUNT-X-RESOURCES" val="AQIFBAQEAgEA"/>
  <p:tag name="GRUNT-VERSION" val="20.24.1.0"/>
  <p:tag name="GRUNT-VERSION-2" val="2024.1-r2-4069"/>
  <p:tag name="GRUNT-X-DATASERVICE" val="AQUCyRIKN0FsdHVhLkRhdGEuRGF0YVNlcnZpY2VzLkVtYmVkZGVkRGF0YVNlcnZpY2UsIEFsdHVhLkRhdGEFAhkEEgQQ7Ekc6Ag/D0O0I9I6wZ58NQ0MJREFDAYFGAgUEAoWQUFsdHVhLkRhdGEuRGF0YVNlcnZpY2VzLkVtYmVkZGVkRGF0YVNlcnZpY2VFZGl0b3JEYXRhLCBBbHR1YS5EYXRhEQUEBRwNIBgGBSQNKBUsHFodBBIEENNz8cQb9wFOoDLwDWItJDkLAAAAAAAAHEAdBBIEEB/rjDimIctLiTIXQgTfWDQLAAAAAAAgYkAdBBIEEOJnguqdwBVPt55grnTxaoYLAAAAAACAREAglgEdBBIEEAW3udO3DvRJkWQYTUZuRawLAAAAAAAAMkAdBBIEEBF5bi6YHOlPpT4SGa3b+1ULAAAAAAAAMkAdBBIEEIQfkeIbhTVBsLhWaz1JSQ8LAAAAAAAAMkAdBBIEEPksWf79329Fuf5n0yPSqyMLAAAAAAAAMkAdBBIEEKTBruNnE2hCqBmPMX5a7skLAAAAAAAAMkAkBDA0ODwoAkBELOgCLAQoBBIEENqNKxB7T5pMmUYr804v+BwMEgQQX5eQl8Rau0KbEDAGcU7FWQ1ILAQoBBIEEHWemJFcQytHgI2gyx3vlOMMEgQQX5eQl8Rau0KbEDAGcU7FWQ1MLAQoBBIEEB/rjDimIctLiTIXQgTfWDQMEgQQ6NwaFbIJ/EeQekLL/HFgWw1QLAQoBBIEEB/rjDimIctLiTIXQgTfWDQMEgQQX5eQl8Rau0KbEDAGcU7FWQ1ULAQoBBIEEPcNbqcYN7JIm877E5VeB3UMEgQQX5eQl8Rau0KbEDAGcU7FWQ1YLAQoBBIEEPcNbqcYN7JIm877E5VeB3UMEgQQ6NwaFbIJ/EeQekLL/HFgWw1cLAQoBBIEENqNKxB7T5pMmUYr804v+BwMEgQQ6NwaFbIJ/EeQekLL/HFgWw1gLAQoBBIEEHWemJFcQytHgI2gyx3vlOMMEgQQ6NwaFbIJ/EeQekLL/HFgWw1kMBoEEgQQ2o0rEHtPmkyZRivzTi/4HAwCQzEZATQaBBIEEB/rjDimIctLiTIXQgTfWDQMAkMyGQE4GgQSBBB1npiRXEMrR4CNoMsd75TjDAJDMxkBPBsEEgQQ9w1upxg3skibzvsTlV4HdQwDQzE4GQFAGgQSBBBfl5CXxFq7QpsQMAZxTsVZDAJSMRkBRBoEEgQQ6NwaFbIJ/EeQekLL/HFgWwwCUjIZAUgEDWgVbEwEDWgVcFAEDWgVdFQEDWgVeFgFDXwVgAFcBQ18FYQBYAUNaBWIAWQFDWgVjAFoAgQAbAUEAwWQAXAFBAMFlAF0BQQDBZgBeAUEAwWcAXwCBACAAQUEAwWgAYQBBQQDBaQBiAEFBAMFqAGMAQUEAwWsAZABAgEAlAEFAQGxAS2YAQUBAbkBLZwBBQEBvQEtoAEFAQHBAS2kAQUBAcUBLagBBQEByQEtrAEFAQHNAS22AS9BbHR1YS5EYXRhLkluZnJhc3RydWN0dXJlLlBhcmFncmFwaCwgQWx0dWEuRGF0YbEBLQUMAwXQAbkBLQUMAwXUAb0BLQUMAwXYAcEBLQUMAwXcAcUBLQUMAwXgAckBLQUMAwXkAc0BLQUMAwXoAdABBQEB7QE81AEFAQH1AT7YAQUBAf0BPNwBBQEBgQI84AEFAQGFAj7kAQUBAYkCPugBBQEBjQI+8gEtQWx0dWEuRGF0YS5JbmZyYXN0cnVjdHVyZS5UZXh0UnVuLCBBbHR1YS5EYXRh7QE8EgQNNS4wMDDigJM5Ljk5OQ2QAvoBL0FsdHVhLkRhdGEuSW5mcmFzdHJ1Y3R1cmUuTnVtYmVyUnVuLCBBbHR1YS5EYXRh9QE+EgQNAwAAAAAAAAAAHZUCRg2cAv0BPBAEC1VuZGVyIDUuMDAwDaACgQI8FwQSMTAuMDAwIGVsbGVyIGZsZXJlDaQChQI+EgQNAwAAAAAAAD5AHakCRg2sAokCPhIEDQMAAAAAAKCfQB2xAkYNtAKNAj4SBA0DAAAAAAAAKkAduQJGDbwCkAISBAAcACQALAA0ADwATABUAF0AmgI9QWx0dWEuRGF0YS5OdW1iZXJGb3JtYXR0aW5nLkNvbXBvc2l0ZU51bWJlckZvcm1hdCwgQWx0dWEuRGF0YZUCRgsdwAIlxAI1yAI9AJwCEgQAHAAkACwANAA8AEwAVABdAKACEgQAHAAkACwANAA8AEwAVABdAKQCEgQAHAAkACwANAA8AEwAVABdAKkCRgsdzAIl0AI11AI9AKwCEgQAHAAkACwANAA8AEwAVABdALECRgsd2AIl3AI14AI9ALQCEgQAHAAkACwANAA8AEwAVABdALkCRgsd5AIl6AI17AI9ALwCEgQAHAAkACwANAA8AEwAVABdAMACCQAADAMF8AIRAMQCCQAADAMF9AIRAMgCCgQBLAwBLhQCa3LMAgkAAAwDBfgCEQDQAgkAAAwDBfwCEQDUAgoEASwMAS4UAmty2AIJAAAMAwWAAxEA3AIJAAAMAwWEAxEA4AIKBAEsDAEuFAJrcuQCCQAADAMFiAMRAOgCCQAADAMFjAMRAOwCCgQBLAwBLhQCa3LwAgUBAZEDZfQCCAECmQNnkQNl+AIFAQGhA2X8AggBAqUDZ6EDZYADBQEBqQNlhAMIAQKtA2epA2WIAwUBAbEDZYwDCAECtQNnsQNllgNAQWx0dWEuRGF0YS5OdW1iZXJGb3JtYXR0aW5nLk51bWJlckZvcm1hdFZhbHVlU2VnbWVudCwgQWx0dWEuRGF0YZEDZQUEAwW4A54DP0FsdHVhLkRhdGEuTnVtYmVyRm9ybWF0dGluZy5OdW1iZXJGb3JtYXRUZXh0U2VnbWVudCwgQWx0dWEuRGF0YZkDZwUEAS0JAaEDZQUEAwW8A6UDZwUEAS0JAakDZQUEAwXAA60DZwUEAS0JAbEDZQUEAwXEA7UDZwUEAS0JAbgDBQEByQNzvAMFAQHJA3PAAwUBAdEDc8QDBQEByQNzzgM5QWx0dWEuRGF0YS5OdW1iZXJGb3JtYXR0aW5nLk51bWJlclBsYWNlaG9sZGVyLCBBbHR1YS5EYXRhyQNzBQIwAAAA0QNzBQIwAAAA"/>
  <p:tag name="GRUNT-RENDERHASH" val="7ff3637f55dcd37852b8dd6339b081aa-svg"/>
  <p:tag name="GRUNT-X-SHAPEBOUNDS" val="ASIBBAAAAGCOVIJAAAAA4HRwckAAAAAAC5ByQAAAAODtKVxAAA=="/>
  <p:tag name="GRUNT-X-PAGEOBJECT" val="AQUC7S0KOEFsdHVhLk9hay5Db3JlLkRvY3VtZW50TW9kZWwuQ2hhcnRPYmplY3QsIEFsdHVhLk9hay5Db3JlBQI1BBIEEFTqcIP3cJFBp45Izy3/86oMEgQQ7Ekc6Ag/D0O0I9I6wZ58NRUNBCUUNRg9HFUgZSQSUEFsdHVhLk9hay5Db3JlLkRvY3VtZW50TW9kZWwuVGVtcGxhdGluZy5DdXN0b21Qb3NpdGlvbkRlZmluaXRpb24sIEFsdHVhLk9hay5Db3JlDQQkBCIBBPlIC2KOVoJAGFh4Ttt2c0AObukLC4hyQPi7F5+6dlNAFBMVKB0sNTA4AEU1DlU8XUBkAgVEGAQEAgVIHAIFTCALBVAMBW5iLU5PFVQkEAEBCQERARkBIQEpATEBOQAoFgQSBBAAAAAAAAAAAAAAAAAAAAAACAEsFgQSBBAAAAAAAAAAAAAAAAAAAAAACAEwADpHQWx0dWEuT2FrLkNvcmUuQ2hhcnQuQ2x1c3RlcmVkQmFyV2l0aExpbmVQbG90RGVmaW5pdGlvbiwgQWx0dWEuT2FrLkNvcmU1DjUEEgQQt7aRuK4b6kueGRbhwXCzZhwCBVglXDVgPAIFZEkBbWiNAWylAXC1AXUeuQEAxQF9IDwFBYQBDQBABAEACQBEBgECiAGMAUgCAQBMAFAKBAEsDAEgFAJrclQJBAVuYi1OTwgBWAQBAZABXA0AAAgBFAMFlAEcACUAYCYEIgEEAAAAAAAAEEAAAAAAAAAQQAAAAAAAABBAAAAAAAAAEEAIBGQCAQBoCwMAAAAAAIBNQAggbAsDAAAAAAAAFEAIIHBKNZgBPZwBRaABVaQBXagBdawBjQGwAZ0BtAGlAbgBrQG8Ac0BwAHVAcQB3QHIAeUBzAHtAdAB9QHUAf0B2AGFAtwBjQLgAZUC5AF6RUFsdHVhLk9hay5Db3JlLlBsb3R0aW5nLkF1dG9tYXRpY0NhdGVnb3J5QXhpc1NldHRpbmdzLCBBbHR1YS5PYWsuQ29yZXUeEwEBDegBEAAZATAAPewBRfABSAGCAT1BbHR1YS5PYWsuQ29yZS5UaGVtaW5nLlBhZ2VDb2xvclNjaGVtZVBvaW50ZXIsIEFsdHVhLk9hay5Db3JlfSAAhAEI9AH4AfwBgAKIAUgEEgQQSToMk1s1R0iQbJjb2gjD+AwSBBAaiGu+rue3T7kSM7vy2/HEFYQCHBIEEBF5bi6YHOlPpT4SGa3b+1UkAC2IAjWNAkSMAUgEEgQQOa6hS2PnK1Gv94eZJj3pqAwSBBAaiGu+rue3T7kSM7vy2/HEFZQCHBIEEOjcGhWyCfxHkHpCy/xxYFskAC2YAjWNAkSQAUIBABgDJZwCKQAxAEAASAJVoAJdpAJkEgQQGohrvq7nt0+5EjO78tvxxG2oAnWsAo0BsAKRAQGdAbQCpQG4ArUBvAKUAQIBAJgBBQQDBcACnAEFBAMFxAKgAQUEAwXIAqQBBQQDBcwCqAEFBAMFwAKsAQUEAwXAArABBQQDBdACtAEFBAMF1AK4AQUEAwXYArwBBQQDBdwCwAEFBAMF4ALEAQUEAwXkAsgBBQQDBegCzAEFBAMF7ALQAQUEAwXwAtQBBQQDBfQC2AEFBAMF+ALcAQUEAwX8AuABBQQDBYAD5AEFBAMFhAPoAQIBAOwBBgWJA2MIBPABBgWRA2MIBPQBKwQSBBC2eXxy0EHyUKp5dbmyumSbDBIEEB/rjDimIctLiTIXQgTfWDQcAQH4ASsEEgQQrfGRoxqCdV+4daZv8AfmjQwSBBB1npiRXEMrR4CNoMsd75TjHAEB/AErBBIEEBmvyu7/1XlUi9PnPi5pc1wMEgQQ9w1upxg3skibzvsTlV4HdRwBAYACKgQSBBBYxfVteI0tRZlaEHWkJDgeDBIEEOJnguqdwBVPt55grnTxaoYcAIQCBQWUAwgBiAIEBQAIAZICPkFsdHVhLk9hay5Db3JlLkNoYXJ0LkRlZmF1bHRQbG90U2VyaWVzU2V0dGluZ3MsIEFsdHVhLk9hay5Db3JljQJEAJQCBQWYAwgBmAIEBQAIAZwCCwMAAAAAAAAAAAgCoAILAwAAAAAAAAAACAGkAgsDAAAAAAAAAAAIAagCFQWcAw2gAxWkAx2oAyWsAy2wAzW0A6wCBw24AxW9A2OwAgsDAAAAAAAAAAAIBLQCBgXBA2MIBLgCBgXBA2MIBLwCBQQDBcQDwAICAQDEAg4BBsgDzAPQA9QD2APcA8gCBAEB4APMAgIBANACAgEA1AICAQDYAhABB+QD6APsA/AD9AP4A/wD3AICAQDgAg4BBoAEhASIBIwEkASUBOQCEAEHmAScBKAEpASoBKwEsAToAgIBAOwCBAEBtATwAgoBBLgEvATABMQE9AICAQD4AgIBAPwCAgEAgAMCAQCEAwIBAI4DM0FsdHVhLk9hay5Db3JlLlRoZW1pbmcuQ29sb3JQb2ludGVyLCBBbHR1YS5PYWsuQ29yZYkDY1BQUP+RA2NQUFD/lAMFBAMFyASYAwUEAwXMBJwDBwQDBAEACASgAwUEAS4IBKQDBAABCASoAwQAAAgErAMEBAAIBLADBAQACAS0AwQAAAgEuAMFBAMF0AS9A2M+PuX/wQNjUFBQ/8QDAgEAyAMOBdUElgELAAAAAAAAAADMAw4F3QSYAQsAAAAAAAAAANADDgXlBJoBCwAAAAAAAOA/1AMOBe0EnAELAAAAAAAA4D/YAw4F9QSeAQsAAAAAAADgP9wDDgX9BKABCwAAAAAAAPg/4AMIBYUFngENiAXkAwoFjQWkAQ2VBaYB6AMKBZ0FlgENoQWpAewDCgWpBZoBDa0FqQHwAwoFsQWcAQ21BakB9AMJBbkFrwENwQVj+AMKBcUFsgENzQWpAfwDCQXRBbIBDdUFY4AEBwXZBbcBCQGEBAcF4QW5AQkAiAQHBekFtwEJAYwEBwXtBbwBCQGQBAcF9QW+AQkBlAQHBf0FwAEJAZgECgWFBsIBDY0GxAGcBAoFlQbGAQ2dBsgBoAQKBaUGygENrQbMAaQECgW1BsoBDa0GzAGoBAoFuQa5AQ29BtABrAQKBcUGvgENvQbQAbAECgXJBsABDc0G1AG0BAoF1QbWAQ3dBtgBuAQKBeUGuQEN6QbbAbwECgXxBsYBDfUG2wHABAoF+Qa+AQ39BtsBxAQKBYEHwgENhQfbAcgEBgEBiQfjAcwEBgEBkQfjAdAEBAECAQTaBFNBbHR1YS5PYWsuQ29yZS5Nb2RpZmljYXRpb24uU3R5bGluZy5BbGxWYWx1ZUF4aXNDdXN0b21pemF0aW9uVGFyZ2V0LCBBbHR1YS5PYWsuQ29yZdUElgEA4gRZQWx0dWEuT2FrLkNvcmUuTW9kaWZpY2F0aW9uLlN0eWxpbmcuVmFsdWVBeGlzR3JpZGxpbmVzQ3VzdG9taXphdGlvblRhcmdldCwgQWx0dWEuT2FrLkNvcmXdBJgBAOoEU0FsdHVhLk9hay5Db3JlLk1vZGlmaWNhdGlvbi5TdHlsaW5nLkNhdGVnb3J5QXhpc0N1c3RvbWl6YXRpb25UYXJnZXQsIEFsdHVhLk9hay5Db3Jl5QSaAQDyBFBBbHR1YS5PYWsuQ29yZS5Nb2RpZmljYXRpb24uU3R5bGluZy5Pcmlnb0xpbmVDdXN0b21pemF0aW9uVGFyZ2V0LCBBbHR1YS5PYWsuQ29yZe0EnAEA+gRdQWx0dWEuT2FrLkNvcmUuTW9kaWZpY2F0aW9uLlN0eWxpbmcuQWxsQ29ubmVjdG9yc0F1eGlsaWFyeUN1c3RvbWl6YXRpb25UYXJnZXQsIEFsdHVhLk9hay5Db3Jl9QSeAQCCBVlBbHR1YS5PYWsuQ29yZS5Nb2RpZmljYXRpb24uU3R5bGluZy5TZXJpZXNXaXRoUGxvdEtpbmRDdXN0b21pemF0aW9uVGFyZ2V0LCBBbHR1YS5PYWsuQ29yZf0EoAEDBZQHhQWeAQCIBQUMAwWYB5IFVkFsdHVhLk9hay5Db3JlLk1vZGlmaWNhdGlvbi5TdHlsaW5nLkFsbFNlcmllc01hcmtlckN1c3RvbWl6YXRpb25UYXJnZXQsIEFsdHVhLk9hay5Db3JljQWkAQCaBTpBbHR1YS5PYWsuQ29yZS5UaGVtaW5nLkJpbmRpbmdDb2xvclBvaW50ZXIsIEFsdHVhLk9hay5Db3JllQWmAQUFnQfoAZ0FlgEApgU3QWx0dWEuT2FrLkNvcmUuVGhlbWluZy5QYWdlQ29sb3JQb2ludGVyLCBBbHR1YS5PYWsuQ29yZaEFqQEEAAAIAKkFmgEArQWpAQQAAAgAsQWcAQC1BakBBAAACAC+BVNBbHR1YS5PYWsuQ29yZS5Nb2RpZmljYXRpb24uU3R5bGluZy5BbGxHcmlkbGluZXNDdXN0b21pemF0aW9uVGFyZ2V0LCBBbHR1YS5PYWsuQ29yZbkFrwEAwQVjgICA/8oFTUFsdHVhLk9hay5Db3JlLk1vZGlmaWNhdGlvbi5TdHlsaW5nLlNlcmllc0N1c3RvbWl6YXRpb25UYXJnZXQsIEFsdHVhLk9hay5Db3JlxQWyARQEEgQQOa6hS2PnK1Gv94eZJj3pqM0FqQEEAAUIANEFsgEUBBIEEEk6DJNbNUdIkGyY29oIw/jVBWP/oS//3gVYQWx0dWEuT2FrLkNvcmUuTW9kaWZpY2F0aW9uLlN0eWxpbmcuU2VyaWVzTGFiZWxPZlR5cGVDdXN0b21pemF0aW9uVGFyZ2V0LCBBbHR1YS5PYWsuQ29yZdkFtwECAALmBVhBbHR1YS5PYWsuQ29yZS5Nb2RpZmljYXRpb24uU3R5bGluZy5BbGxWYWx1ZUF4aXNMYWJlbEN1c3RvbWl6YXRpb25UYXJnZXQsIEFsdHVhLk9hay5Db3Jl4QW5AQDpBbcBAgAA8gVVQWx0dWEuT2FrLkNvcmUuTW9kaWZpY2F0aW9uLlN0eWxpbmcuQWxsVG90YWxMYWJlbHNDdXN0b21pemF0aW9uVGFyZ2V0LCBBbHR1YS5PYWsuQ29yZe0FvAEA+gVXQWx0dWEuT2FrLkNvcmUuTW9kaWZpY2F0aW9uLlN0eWxpbmcuQWxsQ2F0ZWdvcnlMYWJlbEN1c3RvbWl6YXRpb25UYXJnZXQsIEFsdHVhLk9hay5Db3Jl9QW+AQCCBlhBbHR1YS5PYWsuQ29yZS5Nb2RpZmljYXRpb24uU3R5bGluZy5BbGxBdXhpbGlhcnlMYWJlbEN1c3RvbWl6YXRpb25UYXJnZXQsIEFsdHVhLk9hay5Db3Jl/QXAAQCKBlhBbHR1YS5PYWsuQ29yZS5Nb2RpZmljYXRpb24uU3R5bGluZy5DYXRlZ29yeUF4aXNUaXRsZUN1c3RvbWl6YXRpb25UYXJnZXQsIEFsdHVhLk9hay5Db3JlhQbCAQCSBkZBbHR1YS5PYWsuQ29yZS5QbG90dGluZy5BeGlzVGl0bGVMYWJlbFBsYWNlbWVudE91dHNpZGUsIEFsdHVhLk9hay5Db3JljQbEAQIAAZoGXUFsdHVhLk9hay5Db3JlLk1vZGlmaWNhdGlvbi5TdHlsaW5nLkFsbFZhbHVlQXhpc1RpdGxlTGFiZWxDdXN0b21pemF0aW9uVGFyZ2V0LCBBbHR1YS5PYWsuQ29yZZUGxgEAogZCQWx0dWEuT2FrLkNvcmUuUGxvdHRpbmcuQXhpc1RpdGxlTGFiZWxQbGFjZW1lbnRGYXIsIEFsdHVhLk9hay5Db3JlnQbIAQIAAKoGX0FsdHVhLk9hay5Db3JlLk1vZGlmaWNhdGlvbi5TdHlsaW5nLlNlcmllc0xhYmVsc1dpdGhQbG90S2luZEN1c3RvbWl6YXRpb25UYXJnZXQsIEFsdHVhLk9hay5Db3JlpQbKAQUFpAcIALIGPUFsdHVhLk9hay5Db3JlLlBsb3R0aW5nLkxhYmVsUGxhY2VtZW50T3V0c2lkZSwgQWx0dWEuT2FrLkNvcmWtBswBALUGygEFBagHCAC5BrkBAMIGQUFsdHVhLk9hay5Db3JlLlBsb3R0aW5nLkF4aXNMYWJlbFBsYWNlbWVudE91dHNpZGUsIEFsdHVhLk9hay5Db3JlvQbQAQIBAMUGvgEAyQbAAQDSBkZBbHR1YS5PYWsuQ29yZS5QbG90dGluZy5BdXhpbGlhcnlMYWJlbFBsYWNlbWVudERlZmF1bHQsIEFsdHVhLk9hay5Db3JlzQbUAQDaBlBBbHR1YS5PYWsuQ29yZS5Nb2RpZmljYXRpb24uU3R5bGluZy5BbGxMYWJlbHNDdXN0b21pemF0aW9uVGFyZ2V0LCBBbHR1YS5PYWsuQ29yZdUG1gEA4gZCQWx0dWEuT2FrLkNvcmUuU3ludGF4U3RydWN0dXJlLkFjdHVhbEZvbnRTaXplVmFsdWUsIEFsdHVhLk9hay5Db3Jl3QbYAQkDAAAAAAAAKEDlBrkBAO4GQ0FsdHVhLk9hay5Db3JlLlN5bnRheFN0cnVjdHVyZS5BY3R1YWxGb250Q29sb3JWYWx1ZSwgQWx0dWEuT2FrLkNvcmXpBtsBBQWtB6kB8QbGAQD1BtsBBQWxB6kB+Qa+AQD9BtsBBQW1B6kBgQfCAQCFB9sBBQW5B6kBjgcvQWx0dWEuRGF0YS5JbmZyYXN0cnVjdHVyZS5QYXJhZ3JhcGgsIEFsdHVhLkRhdGGJB+MBBQwDBbwHkQfjAQUMAwXAB5QHAQWYBwoBAgAAgEAAAEBAogdIQWx0dWEuT2FrLkNvcmUuU3ludGF4U3RydWN0dXJlLlBsb3RTZXJpZXNCaW5kaW5nU3RyYXRlZ3ksIEFsdHVhLk9hay5Db3JlnQfoAQCkBwIJCqgHAQWtB6kBBAAACACxB6kBBAAACAC1B6kBBAAACAC5B6kBBAAACAC8BwYBAcUH8gHABwYBAc0H8gHKBy9BbHR1YS5EYXRhLkluZnJhc3RydWN0dXJlLk51bWJlclJ1biwgQWx0dWEuRGF0YcUH8gETBA4DAAAAAACcn0Ad0Qf1AQ3YB80H8gETBA4DAAAAAACgn0Ad3Qf1AQ3gB9YHPUFsdHVhLkRhdGEuTnVtYmVyRm9ybWF0dGluZy5Db21wb3NpdGVOdW1iZXJGb3JtYXQsIEFsdHVhLkRhdGHRB/UBCx3kByXoBzXsBz0A2AcSBAAcACQALAA0ADwATABUAF0A3Qf1AQsd8Acl9Ac1+Ac9AOAHEgQAHAAkACwANAA8AEwAVABdAOQHCQAADAMF/AcRAOgHCQAADAMFgAgRAOwHCgQBLAwBLhQCa3LwBwkAAAwDBYQIEQD0BwkAAAwDBYgIEQD4BwoEASwMAS4UAmty/AcGAQGNCIQCgAgKAQKVCIYCjQiEAoQIBgEBnQiEAogICgECoQiGAp0IhAKSCEBBbHR1YS5EYXRhLk51bWJlckZvcm1hdHRpbmcuTnVtYmVyRm9ybWF0VmFsdWVTZWdtZW50LCBBbHR1YS5EYXRhjQiEAgUEAwWkCJoIP0FsdHVhLkRhdGEuTnVtYmVyRm9ybWF0dGluZy5OdW1iZXJGb3JtYXRUZXh0U2VnbWVudCwgQWx0dWEuRGF0YZUIhgIFBAEtCQGdCIQCBQQDBagIoQiGAgUEAS0JAaQIBgEBrQiMAqgIBgEBtQiMArIIOUFsdHVhLkRhdGEuTnVtYmVyRm9ybWF0dGluZy5OdW1iZXJQbGFjZWhvbGRlciwgQWx0dWEuRGF0Ya0IjAIFAjAAAAC1CIwCBQIwAAAA"/>
  <p:tag name="GRUNT-SYNC" val="70a42f59375c452da6c0055679126f8b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91d9e8a2-c710-4130-8d7d-67989cffec7b"/>
  <p:tag name="GRUNT-X-RESOURCES" val="AQIFBAQEAgEA"/>
  <p:tag name="GRUNT-VERSION" val="20.24.1.0"/>
  <p:tag name="GRUNT-VERSION-2" val="2024.1-r2-4069"/>
  <p:tag name="GRUNT-X-SHAPEBOUNDS" val="ASIBBAAAAIAGHUlAAAAAAGrGe0AAAABAmaZaQAAAAODCVzRAAA=="/>
  <p:tag name="GRUNT-X-PAGEOBJECT" val="AQUCswIKPkFsdHVhLk9hay5Db3JlLkRvY3VtZW50TW9kZWwuQ2hhcnRMZWdlbmRPYmplY3QsIEFsdHVhLk9hay5Db3JlBQI5BBIEEObKgYPaFyJEg7RFQQBFZhAUEgQQ6tnPR2R2f0GcYxSSRUKqwC0MNRBEAgUUSABVGQdlIG0kDAQEAgUoEAIFLBQCAQAeUEFsdHVhLk9hay5Db3JlLkRvY3VtZW50TW9kZWwuVGVtcGxhdGluZy5DdXN0b21Qb3NpdGlvbkRlZmluaXRpb24sIEFsdHVhLk9hay5Db3JlGQckBCIBBBgKQoEGHUlAxq1k+mnGe0AoEkw0maZaQKCVT+vCVzRAIAsFMAwFbmItTk8VNCQEAQEJASgCAQAsADAKBAEsDAEgFAJrcjQJBAVuYi1OTwgB"/>
  <p:tag name="GRUNT-SYNC" val="2804e7328c8d44b7a92f1f6905282cb3"/>
  <p:tag name="GRUNT-RENDERHASH" val="ff8301d62f3637bc1b36c72b2c8b12d3-sv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a9532952-1208-4207-9d83-3e0876246494"/>
  <p:tag name="GRUNT-X-RESOURCES" val="AQIFBAQEAgEA"/>
  <p:tag name="GRUNT-VERSION" val="20.24.1.0"/>
  <p:tag name="GRUNT-VERSION-2" val="2024.1-r2-4069"/>
  <p:tag name="GRUNT-X-SHAPEBOUNDS" val="ASIBBAAAAGCOVoJAAAAAAGrGe0AAAABgfMVcQAAAAODCVzRAAA=="/>
  <p:tag name="GRUNT-X-PAGEOBJECT" val="AQUCswIKPkFsdHVhLk9hay5Db3JlLkRvY3VtZW50TW9kZWwuQ2hhcnRMZWdlbmRPYmplY3QsIEFsdHVhLk9hay5Db3JlBQI5BBIEEAosiUmcTMJLmx/+rFfwPp8UEgQQt7aRuK4b6kueGRbhwXCzZi0MNRBEAgUUSABVGQdlIG0kDAQEAgUoEAIFLBQCAQAeUEFsdHVhLk9hay5Db3JlLkRvY3VtZW50TW9kZWwuVGVtcGxhdGluZy5DdXN0b21Qb3NpdGlvbkRlZmluaXRpb24sIEFsdHVhLk9hay5Db3JlGQckBCIBBPlIC2KOVoJAxq1k+mnGe0DgZ5BlfMVcQKCVT+vCVzRAIAsFMAwFbmItTk8VNCQEAQEJASgCAQAsADAKBAEsDAEgFAJrcjQJBAVuYi1OTwgB"/>
  <p:tag name="GRUNT-SYNC" val="91e3af232436444696c79040dc2ba115"/>
  <p:tag name="GRUNT-RENDERHASH" val="5d5043ac0f63ddf9beae5aaa9a884815-svg"/>
</p:tagLst>
</file>

<file path=ppt/theme/theme1.xml><?xml version="1.0" encoding="utf-8"?>
<a:theme xmlns:a="http://schemas.openxmlformats.org/drawingml/2006/main" name="Office-tema">
  <a:themeElements>
    <a:clrScheme name="SpareBank1">
      <a:dk1>
        <a:sysClr val="windowText" lastClr="000000"/>
      </a:dk1>
      <a:lt1>
        <a:sysClr val="window" lastClr="FFFFFF"/>
      </a:lt1>
      <a:dk2>
        <a:srgbClr val="005AA4"/>
      </a:dk2>
      <a:lt2>
        <a:srgbClr val="B7CEE6"/>
      </a:lt2>
      <a:accent1>
        <a:srgbClr val="005AA4"/>
      </a:accent1>
      <a:accent2>
        <a:srgbClr val="002776"/>
      </a:accent2>
      <a:accent3>
        <a:srgbClr val="7EB5D2"/>
      </a:accent3>
      <a:accent4>
        <a:srgbClr val="F8E9DD"/>
      </a:accent4>
      <a:accent5>
        <a:srgbClr val="D3D3EA"/>
      </a:accent5>
      <a:accent6>
        <a:srgbClr val="EE8D9C"/>
      </a:accent6>
      <a:hlink>
        <a:srgbClr val="0563C1"/>
      </a:hlink>
      <a:folHlink>
        <a:srgbClr val="954F72"/>
      </a:folHlink>
    </a:clrScheme>
    <a:fontScheme name="SpareBank1">
      <a:majorFont>
        <a:latin typeface="SpareBank 1 Title"/>
        <a:ea typeface=""/>
        <a:cs typeface=""/>
      </a:majorFont>
      <a:minorFont>
        <a:latin typeface="SpareBank 1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9A2174E4-9D7D-4686-8007-CF028B3E8537}" vid="{30555B75-581F-4AC3-932C-98B7A4FF4757}"/>
    </a:ext>
  </a:extLst>
</a:theme>
</file>

<file path=ppt/theme/theme2.xml><?xml version="1.0" encoding="utf-8"?>
<a:theme xmlns:a="http://schemas.openxmlformats.org/drawingml/2006/main" name="4_Office-tema">
  <a:themeElements>
    <a:clrScheme name="SpareBank1">
      <a:dk1>
        <a:sysClr val="windowText" lastClr="000000"/>
      </a:dk1>
      <a:lt1>
        <a:sysClr val="window" lastClr="FFFFFF"/>
      </a:lt1>
      <a:dk2>
        <a:srgbClr val="005AA4"/>
      </a:dk2>
      <a:lt2>
        <a:srgbClr val="B7CEE6"/>
      </a:lt2>
      <a:accent1>
        <a:srgbClr val="005AA4"/>
      </a:accent1>
      <a:accent2>
        <a:srgbClr val="002776"/>
      </a:accent2>
      <a:accent3>
        <a:srgbClr val="7EB5D2"/>
      </a:accent3>
      <a:accent4>
        <a:srgbClr val="F8E9DD"/>
      </a:accent4>
      <a:accent5>
        <a:srgbClr val="D3D3EA"/>
      </a:accent5>
      <a:accent6>
        <a:srgbClr val="EE8D9C"/>
      </a:accent6>
      <a:hlink>
        <a:srgbClr val="0563C1"/>
      </a:hlink>
      <a:folHlink>
        <a:srgbClr val="954F72"/>
      </a:folHlink>
    </a:clrScheme>
    <a:fontScheme name="SpareBank1">
      <a:majorFont>
        <a:latin typeface="SpareBank 1 Title"/>
        <a:ea typeface=""/>
        <a:cs typeface=""/>
      </a:majorFont>
      <a:minorFont>
        <a:latin typeface="SpareBank 1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B1 Mal.potx" id="{7B1E4503-9A78-46B9-A4E6-6D5B9B42F684}" vid="{6CD532B6-449B-49A6-BB87-38119AF33A20}"/>
    </a:ext>
  </a:extLst>
</a:theme>
</file>

<file path=ppt/theme/theme3.xml><?xml version="1.0" encoding="utf-8"?>
<a:theme xmlns:a="http://schemas.openxmlformats.org/drawingml/2006/main" name="5_Office-tema">
  <a:themeElements>
    <a:clrScheme name="SpareBank1">
      <a:dk1>
        <a:sysClr val="windowText" lastClr="000000"/>
      </a:dk1>
      <a:lt1>
        <a:sysClr val="window" lastClr="FFFFFF"/>
      </a:lt1>
      <a:dk2>
        <a:srgbClr val="005AA4"/>
      </a:dk2>
      <a:lt2>
        <a:srgbClr val="B7CEE6"/>
      </a:lt2>
      <a:accent1>
        <a:srgbClr val="005AA4"/>
      </a:accent1>
      <a:accent2>
        <a:srgbClr val="002776"/>
      </a:accent2>
      <a:accent3>
        <a:srgbClr val="7EB5D2"/>
      </a:accent3>
      <a:accent4>
        <a:srgbClr val="F8E9DD"/>
      </a:accent4>
      <a:accent5>
        <a:srgbClr val="D3D3EA"/>
      </a:accent5>
      <a:accent6>
        <a:srgbClr val="EE8D9C"/>
      </a:accent6>
      <a:hlink>
        <a:srgbClr val="0563C1"/>
      </a:hlink>
      <a:folHlink>
        <a:srgbClr val="954F72"/>
      </a:folHlink>
    </a:clrScheme>
    <a:fontScheme name="SpareBank1">
      <a:majorFont>
        <a:latin typeface="SpareBank 1 Title"/>
        <a:ea typeface=""/>
        <a:cs typeface=""/>
      </a:majorFont>
      <a:minorFont>
        <a:latin typeface="SpareBank 1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areBank 1 mal" id="{3B6F6FA5-FB9F-4932-B4BA-6C5BCFBA95EC}" vid="{DBC03986-90FA-4C52-AFB2-D231B15790BF}"/>
    </a:ext>
  </a:extLst>
</a:theme>
</file>

<file path=ppt/theme/theme4.xml><?xml version="1.0" encoding="utf-8"?>
<a:theme xmlns:a="http://schemas.openxmlformats.org/drawingml/2006/main" name="1_Office-tema">
  <a:themeElements>
    <a:clrScheme name="SpareBank1">
      <a:dk1>
        <a:sysClr val="windowText" lastClr="000000"/>
      </a:dk1>
      <a:lt1>
        <a:sysClr val="window" lastClr="FFFFFF"/>
      </a:lt1>
      <a:dk2>
        <a:srgbClr val="005AA4"/>
      </a:dk2>
      <a:lt2>
        <a:srgbClr val="B7CEE6"/>
      </a:lt2>
      <a:accent1>
        <a:srgbClr val="005AA4"/>
      </a:accent1>
      <a:accent2>
        <a:srgbClr val="002776"/>
      </a:accent2>
      <a:accent3>
        <a:srgbClr val="7EB5D2"/>
      </a:accent3>
      <a:accent4>
        <a:srgbClr val="F8E9DD"/>
      </a:accent4>
      <a:accent5>
        <a:srgbClr val="D3D3EA"/>
      </a:accent5>
      <a:accent6>
        <a:srgbClr val="EE8D9C"/>
      </a:accent6>
      <a:hlink>
        <a:srgbClr val="0563C1"/>
      </a:hlink>
      <a:folHlink>
        <a:srgbClr val="954F72"/>
      </a:folHlink>
    </a:clrScheme>
    <a:fontScheme name="SpareBank1">
      <a:majorFont>
        <a:latin typeface="SpareBank 1 Title"/>
        <a:ea typeface=""/>
        <a:cs typeface=""/>
      </a:majorFont>
      <a:minorFont>
        <a:latin typeface="SpareBank 1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9A2174E4-9D7D-4686-8007-CF028B3E8537}" vid="{30555B75-581F-4AC3-932C-98B7A4FF4757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11">
    <wetp:webextensionref xmlns:r="http://schemas.openxmlformats.org/officeDocument/2006/relationships" r:id="rId2"/>
  </wetp:taskpane>
  <wetp:taskpane dockstate="right" visibility="0" width="350" row="10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B56DB914-30FA-479A-A08C-F066C773B017}">
  <we:reference id="f7da559f-5105-4956-bf32-5c706edeb727" version="2.0.1.0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7D1CE03F-DB90-46CB-9FC0-D3B85863C459}">
  <we:reference id="b5c09e55-3dce-4edd-868c-cc5152671239" version="1.0.0.4" store="EXCatalog" storeType="EXCatalog"/>
  <we:alternateReferences/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EFDC0DC0-9262-4A24-80B8-069B9642ED1D}">
  <we:reference id="wa104380594" version="2.0.0.0" store="en-001" storeType="OMEX"/>
  <we:alternateReferences>
    <we:reference id="WA104380594" version="2.0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A90B60BB4F14C40B649A30D6448840D" ma:contentTypeVersion="0" ma:contentTypeDescription="Create a new document." ma:contentTypeScope="" ma:versionID="0b06b870c158a5d1851c77f2a7e0260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967b7be50301903c78f9c39c6fd9af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51E578-F59C-4AA4-A064-60F38B77ED57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</ds:schemaRefs>
</ds:datastoreItem>
</file>

<file path=customXml/itemProps2.xml><?xml version="1.0" encoding="utf-8"?>
<ds:datastoreItem xmlns:ds="http://schemas.openxmlformats.org/officeDocument/2006/customXml" ds:itemID="{7FBCDED5-7808-4D8F-8B8F-548E48E3471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1DED52-5C98-4102-AD4F-C71603DE0A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pareBank 1 Finanshuset SMN</Template>
  <TotalTime>14356</TotalTime>
  <Words>1068</Words>
  <Application>Microsoft Office PowerPoint</Application>
  <PresentationFormat>Widescreen</PresentationFormat>
  <Paragraphs>160</Paragraphs>
  <Slides>26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6</vt:i4>
      </vt:variant>
    </vt:vector>
  </HeadingPairs>
  <TitlesOfParts>
    <vt:vector size="39" baseType="lpstr">
      <vt:lpstr>SpareBank 1 Medium</vt:lpstr>
      <vt:lpstr>Arial</vt:lpstr>
      <vt:lpstr>SpareBank 1</vt:lpstr>
      <vt:lpstr>Calibri</vt:lpstr>
      <vt:lpstr>SpareBank 1 Title Light</vt:lpstr>
      <vt:lpstr>SpareBank 1 Title </vt:lpstr>
      <vt:lpstr>SpareBank 1 Light</vt:lpstr>
      <vt:lpstr>SpareBank 1 Title</vt:lpstr>
      <vt:lpstr>Office-tema</vt:lpstr>
      <vt:lpstr>4_Office-tema</vt:lpstr>
      <vt:lpstr>5_Office-tema</vt:lpstr>
      <vt:lpstr>1_Office-tema</vt:lpstr>
      <vt:lpstr>think-cell Slide</vt:lpstr>
      <vt:lpstr>SpareBank 1s Nasjonale  Bærekraftsbarometer 2024  Kommuneundersøkelsen</vt:lpstr>
      <vt:lpstr>Norges største undersøkelse om bærekraft</vt:lpstr>
      <vt:lpstr>Årets bærekraftbarometer viser at… </vt:lpstr>
      <vt:lpstr>PowerPoint-presentasjon</vt:lpstr>
      <vt:lpstr>7 av 10 kommuner har konkrete mål for å kutte utslipp. Knapt halvparten av kommunene har også en overgangsplan</vt:lpstr>
      <vt:lpstr>Spørsmål: Hvem har størst innflytelse på om kommunen vurderer bærekraft som strategisk viktig?</vt:lpstr>
      <vt:lpstr>Regionale myndigheter og egne ansatte er viktigste rådgiver i spørsmål om bærekraft</vt:lpstr>
      <vt:lpstr>PowerPoint-presentasjon</vt:lpstr>
      <vt:lpstr>Flertallet av midtnorske kommuner kjøper i liten grad brukte eller resirkulerte gjenstander til drift </vt:lpstr>
      <vt:lpstr>PowerPoint-presentasjon</vt:lpstr>
      <vt:lpstr>PowerPoint-presentasjon</vt:lpstr>
      <vt:lpstr>PowerPoint-presentasjon</vt:lpstr>
      <vt:lpstr>Flertallet av kommunene i Midt-Norge har gjort endringer og/eller planlegger endringer i egen tjenestemodell på grunn av klimaendringer </vt:lpstr>
      <vt:lpstr>Myndighetskrav er den viktigste driveren for grønn omstilling i kommunen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Knapt halvparten av midtnorske kommuner tror bærekraft i stor grad vil styrke kommunens økonomi de neste fem årene   </vt:lpstr>
      <vt:lpstr>Sammen får vi ting til å skje! - Les mer om konsernets arbeid med bærekraft på smn.no/bærekraft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areBank 1s Nasjonale  Bærekrafts-barometer 2024   - Norges største bærekraftsundersøkelse</dc:title>
  <dc:creator>Tomas Oliver Waldal Verstad</dc:creator>
  <cp:lastModifiedBy>Jan-Eilert Nilsen</cp:lastModifiedBy>
  <cp:revision>9</cp:revision>
  <dcterms:created xsi:type="dcterms:W3CDTF">2024-05-07T11:22:13Z</dcterms:created>
  <dcterms:modified xsi:type="dcterms:W3CDTF">2024-06-04T12:2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90B60BB4F14C40B649A30D6448840D</vt:lpwstr>
  </property>
  <property fmtid="{D5CDD505-2E9C-101B-9397-08002B2CF9AE}" pid="3" name="MediaServiceImageTags">
    <vt:lpwstr/>
  </property>
  <property fmtid="{D5CDD505-2E9C-101B-9397-08002B2CF9AE}" pid="4" name="MSIP_Label_f72e1550-8259-4cf3-a1ec-0faec9abf3e8_Enabled">
    <vt:lpwstr>true</vt:lpwstr>
  </property>
  <property fmtid="{D5CDD505-2E9C-101B-9397-08002B2CF9AE}" pid="5" name="MSIP_Label_f72e1550-8259-4cf3-a1ec-0faec9abf3e8_SetDate">
    <vt:lpwstr>2024-02-19T13:24:07Z</vt:lpwstr>
  </property>
  <property fmtid="{D5CDD505-2E9C-101B-9397-08002B2CF9AE}" pid="6" name="MSIP_Label_f72e1550-8259-4cf3-a1ec-0faec9abf3e8_Method">
    <vt:lpwstr>Privileged</vt:lpwstr>
  </property>
  <property fmtid="{D5CDD505-2E9C-101B-9397-08002B2CF9AE}" pid="7" name="MSIP_Label_f72e1550-8259-4cf3-a1ec-0faec9abf3e8_Name">
    <vt:lpwstr>f72e1550-8259-4cf3-a1ec-0faec9abf3e8</vt:lpwstr>
  </property>
  <property fmtid="{D5CDD505-2E9C-101B-9397-08002B2CF9AE}" pid="8" name="MSIP_Label_f72e1550-8259-4cf3-a1ec-0faec9abf3e8_SiteId">
    <vt:lpwstr>156b047c-a56e-40a2-9f11-b69d58cf5508</vt:lpwstr>
  </property>
  <property fmtid="{D5CDD505-2E9C-101B-9397-08002B2CF9AE}" pid="9" name="MSIP_Label_f72e1550-8259-4cf3-a1ec-0faec9abf3e8_ActionId">
    <vt:lpwstr>57180198-46e4-41a0-96f0-ec854d872ae1</vt:lpwstr>
  </property>
  <property fmtid="{D5CDD505-2E9C-101B-9397-08002B2CF9AE}" pid="10" name="MSIP_Label_f72e1550-8259-4cf3-a1ec-0faec9abf3e8_ContentBits">
    <vt:lpwstr>0</vt:lpwstr>
  </property>
</Properties>
</file>